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67" r:id="rId2"/>
    <p:sldMasterId id="2147483671" r:id="rId3"/>
  </p:sldMasterIdLst>
  <p:notesMasterIdLst>
    <p:notesMasterId r:id="rId20"/>
  </p:notesMasterIdLst>
  <p:sldIdLst>
    <p:sldId id="3444" r:id="rId4"/>
    <p:sldId id="3411" r:id="rId5"/>
    <p:sldId id="3429" r:id="rId6"/>
    <p:sldId id="3430" r:id="rId7"/>
    <p:sldId id="3431" r:id="rId8"/>
    <p:sldId id="3433" r:id="rId9"/>
    <p:sldId id="3443" r:id="rId10"/>
    <p:sldId id="3432" r:id="rId11"/>
    <p:sldId id="3435" r:id="rId12"/>
    <p:sldId id="3442" r:id="rId13"/>
    <p:sldId id="3447" r:id="rId14"/>
    <p:sldId id="3448" r:id="rId15"/>
    <p:sldId id="3439" r:id="rId16"/>
    <p:sldId id="3440" r:id="rId17"/>
    <p:sldId id="3450" r:id="rId18"/>
    <p:sldId id="3445" r:id="rId19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546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2D525A-BADE-D7F4-44CC-14C538C0E1BC}" v="1" dt="2022-03-07T18:14:46.804"/>
    <p1510:client id="{FA5ED316-184A-46F7-84ED-68FD802ED57F}" v="7" dt="2022-03-07T18:21:00.5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25" autoAdjust="0"/>
    <p:restoredTop sz="68975" autoAdjust="0"/>
  </p:normalViewPr>
  <p:slideViewPr>
    <p:cSldViewPr snapToGrid="0">
      <p:cViewPr varScale="1">
        <p:scale>
          <a:sx n="59" d="100"/>
          <a:sy n="59" d="100"/>
        </p:scale>
        <p:origin x="152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208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4" Type="http://schemas.openxmlformats.org/officeDocument/2006/relationships/image" Target="../media/image17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colored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accent2">
        <a:alpha val="0"/>
      </a:schemeClr>
    </dgm:fillClrLst>
    <dgm:linClrLst meth="repeat">
      <a:schemeClr val="accent2">
        <a:alpha val="0"/>
      </a:schemeClr>
    </dgm:linClrLst>
    <dgm:effectClrLst/>
    <dgm:txLinClrLst/>
    <dgm:txFillClrLst meth="repeat">
      <a:schemeClr val="accent2"/>
      <a:schemeClr val="accent3"/>
      <a:schemeClr val="accent4"/>
      <a:schemeClr val="accent5"/>
      <a:schemeClr val="accent6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colored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accent2">
        <a:alpha val="0"/>
      </a:schemeClr>
    </dgm:fillClrLst>
    <dgm:linClrLst meth="repeat">
      <a:schemeClr val="accent2">
        <a:alpha val="0"/>
      </a:schemeClr>
    </dgm:linClrLst>
    <dgm:effectClrLst/>
    <dgm:txLinClrLst/>
    <dgm:txFillClrLst meth="repeat">
      <a:schemeClr val="accent2"/>
      <a:schemeClr val="accent3"/>
      <a:schemeClr val="accent4"/>
      <a:schemeClr val="accent5"/>
      <a:schemeClr val="accent6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D11C9A-9108-46A8-9154-43DFED3114E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9EF9F1D-7CEC-4655-ADD4-8BB0C86AD561}">
      <dgm:prSet/>
      <dgm:spPr/>
      <dgm:t>
        <a:bodyPr/>
        <a:lstStyle/>
        <a:p>
          <a:r>
            <a:rPr lang="en-US" dirty="0"/>
            <a:t>1. Eligibility Overview</a:t>
          </a:r>
        </a:p>
      </dgm:t>
    </dgm:pt>
    <dgm:pt modelId="{FF966341-4A2E-4426-B072-3592E64602D1}" type="parTrans" cxnId="{603EF1F7-3EE4-465F-B33B-43CBFAB874A7}">
      <dgm:prSet/>
      <dgm:spPr/>
      <dgm:t>
        <a:bodyPr/>
        <a:lstStyle/>
        <a:p>
          <a:endParaRPr lang="en-US"/>
        </a:p>
      </dgm:t>
    </dgm:pt>
    <dgm:pt modelId="{0106BE5F-CF14-40BE-BF58-D58BE5DFCE26}" type="sibTrans" cxnId="{603EF1F7-3EE4-465F-B33B-43CBFAB874A7}">
      <dgm:prSet/>
      <dgm:spPr/>
      <dgm:t>
        <a:bodyPr/>
        <a:lstStyle/>
        <a:p>
          <a:endParaRPr lang="en-US"/>
        </a:p>
      </dgm:t>
    </dgm:pt>
    <dgm:pt modelId="{4BBE8A43-6FF3-4ED7-9B05-E67CC67BF2DD}">
      <dgm:prSet/>
      <dgm:spPr/>
      <dgm:t>
        <a:bodyPr/>
        <a:lstStyle/>
        <a:p>
          <a:r>
            <a:rPr lang="en-US" dirty="0"/>
            <a:t>2. Technical Requirements</a:t>
          </a:r>
        </a:p>
      </dgm:t>
    </dgm:pt>
    <dgm:pt modelId="{3C3314B5-2702-4282-9D3E-3CC051C162FD}" type="parTrans" cxnId="{F19A6554-6568-47A1-A337-9EA6CFC3AF46}">
      <dgm:prSet/>
      <dgm:spPr/>
      <dgm:t>
        <a:bodyPr/>
        <a:lstStyle/>
        <a:p>
          <a:endParaRPr lang="en-US"/>
        </a:p>
      </dgm:t>
    </dgm:pt>
    <dgm:pt modelId="{ABFB80E2-2DE8-4A26-A889-0129143F9E5E}" type="sibTrans" cxnId="{F19A6554-6568-47A1-A337-9EA6CFC3AF46}">
      <dgm:prSet/>
      <dgm:spPr/>
      <dgm:t>
        <a:bodyPr/>
        <a:lstStyle/>
        <a:p>
          <a:endParaRPr lang="en-US"/>
        </a:p>
      </dgm:t>
    </dgm:pt>
    <dgm:pt modelId="{8EDFD455-5114-4774-9D33-1A0EA4A51D3F}">
      <dgm:prSet/>
      <dgm:spPr/>
      <dgm:t>
        <a:bodyPr/>
        <a:lstStyle/>
        <a:p>
          <a:r>
            <a:rPr lang="en-US" dirty="0"/>
            <a:t>3. Financial Requirements</a:t>
          </a:r>
        </a:p>
      </dgm:t>
    </dgm:pt>
    <dgm:pt modelId="{ED687D66-BB6D-451A-831D-C91B31BEF183}" type="parTrans" cxnId="{2009F9AA-5C59-49E6-983D-7474AFC2AB3D}">
      <dgm:prSet/>
      <dgm:spPr/>
      <dgm:t>
        <a:bodyPr/>
        <a:lstStyle/>
        <a:p>
          <a:endParaRPr lang="en-US"/>
        </a:p>
      </dgm:t>
    </dgm:pt>
    <dgm:pt modelId="{7C5E25D3-0491-4CE8-9886-26D4E4C01230}" type="sibTrans" cxnId="{2009F9AA-5C59-49E6-983D-7474AFC2AB3D}">
      <dgm:prSet/>
      <dgm:spPr/>
      <dgm:t>
        <a:bodyPr/>
        <a:lstStyle/>
        <a:p>
          <a:endParaRPr lang="en-US"/>
        </a:p>
      </dgm:t>
    </dgm:pt>
    <dgm:pt modelId="{DD54A944-5553-4280-BD8D-424D1DE3D1B4}">
      <dgm:prSet/>
      <dgm:spPr/>
      <dgm:t>
        <a:bodyPr/>
        <a:lstStyle/>
        <a:p>
          <a:r>
            <a:rPr lang="en-US" dirty="0"/>
            <a:t>4. Challenge Process</a:t>
          </a:r>
        </a:p>
      </dgm:t>
    </dgm:pt>
    <dgm:pt modelId="{E6902A69-F64A-4152-9451-A683F9E1636A}" type="parTrans" cxnId="{0FDFA75D-BC46-4AF2-86E7-E54ED15BDDB8}">
      <dgm:prSet/>
      <dgm:spPr/>
      <dgm:t>
        <a:bodyPr/>
        <a:lstStyle/>
        <a:p>
          <a:endParaRPr lang="en-US"/>
        </a:p>
      </dgm:t>
    </dgm:pt>
    <dgm:pt modelId="{C21451ED-38F2-4529-A201-32016AEF30B7}" type="sibTrans" cxnId="{0FDFA75D-BC46-4AF2-86E7-E54ED15BDDB8}">
      <dgm:prSet/>
      <dgm:spPr/>
      <dgm:t>
        <a:bodyPr/>
        <a:lstStyle/>
        <a:p>
          <a:endParaRPr lang="en-US"/>
        </a:p>
      </dgm:t>
    </dgm:pt>
    <dgm:pt modelId="{266F3040-1142-49D8-B502-BEEBA8934448}">
      <dgm:prSet/>
      <dgm:spPr/>
      <dgm:t>
        <a:bodyPr/>
        <a:lstStyle/>
        <a:p>
          <a:r>
            <a:rPr lang="en-US" dirty="0"/>
            <a:t>5. FAQs</a:t>
          </a:r>
        </a:p>
      </dgm:t>
    </dgm:pt>
    <dgm:pt modelId="{003F8FC4-1953-46EE-9BC9-0FE9E3F36068}" type="parTrans" cxnId="{A46507DF-3929-42B0-97AD-87641F34967F}">
      <dgm:prSet/>
      <dgm:spPr/>
      <dgm:t>
        <a:bodyPr/>
        <a:lstStyle/>
        <a:p>
          <a:endParaRPr lang="en-US"/>
        </a:p>
      </dgm:t>
    </dgm:pt>
    <dgm:pt modelId="{134CCAA2-E400-4A8B-98F7-451EFAA8985B}" type="sibTrans" cxnId="{A46507DF-3929-42B0-97AD-87641F34967F}">
      <dgm:prSet/>
      <dgm:spPr/>
      <dgm:t>
        <a:bodyPr/>
        <a:lstStyle/>
        <a:p>
          <a:endParaRPr lang="en-US"/>
        </a:p>
      </dgm:t>
    </dgm:pt>
    <dgm:pt modelId="{71334F62-6BB4-44E4-80E4-4C597174080A}" type="pres">
      <dgm:prSet presAssocID="{7AD11C9A-9108-46A8-9154-43DFED3114E7}" presName="vert0" presStyleCnt="0">
        <dgm:presLayoutVars>
          <dgm:dir/>
          <dgm:animOne val="branch"/>
          <dgm:animLvl val="lvl"/>
        </dgm:presLayoutVars>
      </dgm:prSet>
      <dgm:spPr/>
    </dgm:pt>
    <dgm:pt modelId="{AB78AA43-627A-406C-B9A6-67B6618C2457}" type="pres">
      <dgm:prSet presAssocID="{A9EF9F1D-7CEC-4655-ADD4-8BB0C86AD561}" presName="thickLine" presStyleLbl="alignNode1" presStyleIdx="0" presStyleCnt="5"/>
      <dgm:spPr/>
    </dgm:pt>
    <dgm:pt modelId="{A01AFED1-E3B1-4968-A84F-C6ADA2BA5621}" type="pres">
      <dgm:prSet presAssocID="{A9EF9F1D-7CEC-4655-ADD4-8BB0C86AD561}" presName="horz1" presStyleCnt="0"/>
      <dgm:spPr/>
    </dgm:pt>
    <dgm:pt modelId="{D4D8E764-4021-46E1-9AB5-0F090460ED01}" type="pres">
      <dgm:prSet presAssocID="{A9EF9F1D-7CEC-4655-ADD4-8BB0C86AD561}" presName="tx1" presStyleLbl="revTx" presStyleIdx="0" presStyleCnt="5"/>
      <dgm:spPr/>
    </dgm:pt>
    <dgm:pt modelId="{21CF4057-0AC2-4EFB-9239-00963E37F9FF}" type="pres">
      <dgm:prSet presAssocID="{A9EF9F1D-7CEC-4655-ADD4-8BB0C86AD561}" presName="vert1" presStyleCnt="0"/>
      <dgm:spPr/>
    </dgm:pt>
    <dgm:pt modelId="{CC36BAF8-1AFE-4899-B73A-8CCCE3AC255C}" type="pres">
      <dgm:prSet presAssocID="{4BBE8A43-6FF3-4ED7-9B05-E67CC67BF2DD}" presName="thickLine" presStyleLbl="alignNode1" presStyleIdx="1" presStyleCnt="5"/>
      <dgm:spPr/>
    </dgm:pt>
    <dgm:pt modelId="{F7DF9F95-6600-4F93-845A-64FFA8225750}" type="pres">
      <dgm:prSet presAssocID="{4BBE8A43-6FF3-4ED7-9B05-E67CC67BF2DD}" presName="horz1" presStyleCnt="0"/>
      <dgm:spPr/>
    </dgm:pt>
    <dgm:pt modelId="{0E95FA2C-A6C5-44DE-AAD6-46B371E34AE3}" type="pres">
      <dgm:prSet presAssocID="{4BBE8A43-6FF3-4ED7-9B05-E67CC67BF2DD}" presName="tx1" presStyleLbl="revTx" presStyleIdx="1" presStyleCnt="5"/>
      <dgm:spPr/>
    </dgm:pt>
    <dgm:pt modelId="{DA5BD0C4-4943-4DB5-B482-F30843CE7C11}" type="pres">
      <dgm:prSet presAssocID="{4BBE8A43-6FF3-4ED7-9B05-E67CC67BF2DD}" presName="vert1" presStyleCnt="0"/>
      <dgm:spPr/>
    </dgm:pt>
    <dgm:pt modelId="{B656C258-6755-4B24-A805-7ECD80874D7B}" type="pres">
      <dgm:prSet presAssocID="{8EDFD455-5114-4774-9D33-1A0EA4A51D3F}" presName="thickLine" presStyleLbl="alignNode1" presStyleIdx="2" presStyleCnt="5"/>
      <dgm:spPr/>
    </dgm:pt>
    <dgm:pt modelId="{5633CE89-9781-4DFC-BA2D-E67608CA048F}" type="pres">
      <dgm:prSet presAssocID="{8EDFD455-5114-4774-9D33-1A0EA4A51D3F}" presName="horz1" presStyleCnt="0"/>
      <dgm:spPr/>
    </dgm:pt>
    <dgm:pt modelId="{EB5690F6-8FA6-4738-9564-982279FD02F0}" type="pres">
      <dgm:prSet presAssocID="{8EDFD455-5114-4774-9D33-1A0EA4A51D3F}" presName="tx1" presStyleLbl="revTx" presStyleIdx="2" presStyleCnt="5"/>
      <dgm:spPr/>
    </dgm:pt>
    <dgm:pt modelId="{AB5DD38E-978C-4D34-BB5D-BD66AD73F587}" type="pres">
      <dgm:prSet presAssocID="{8EDFD455-5114-4774-9D33-1A0EA4A51D3F}" presName="vert1" presStyleCnt="0"/>
      <dgm:spPr/>
    </dgm:pt>
    <dgm:pt modelId="{843C00C9-9DF6-4517-B6A5-745277B4F6C0}" type="pres">
      <dgm:prSet presAssocID="{DD54A944-5553-4280-BD8D-424D1DE3D1B4}" presName="thickLine" presStyleLbl="alignNode1" presStyleIdx="3" presStyleCnt="5"/>
      <dgm:spPr/>
    </dgm:pt>
    <dgm:pt modelId="{9001D4F4-907E-4B56-8154-C5FA1A720BAF}" type="pres">
      <dgm:prSet presAssocID="{DD54A944-5553-4280-BD8D-424D1DE3D1B4}" presName="horz1" presStyleCnt="0"/>
      <dgm:spPr/>
    </dgm:pt>
    <dgm:pt modelId="{59E71026-EAFE-4131-8EF6-52FA1518E27B}" type="pres">
      <dgm:prSet presAssocID="{DD54A944-5553-4280-BD8D-424D1DE3D1B4}" presName="tx1" presStyleLbl="revTx" presStyleIdx="3" presStyleCnt="5"/>
      <dgm:spPr/>
    </dgm:pt>
    <dgm:pt modelId="{9D9AECEF-8DAB-46E0-8672-40477E8448D7}" type="pres">
      <dgm:prSet presAssocID="{DD54A944-5553-4280-BD8D-424D1DE3D1B4}" presName="vert1" presStyleCnt="0"/>
      <dgm:spPr/>
    </dgm:pt>
    <dgm:pt modelId="{B39073DB-8142-4736-BD83-55565C6BF272}" type="pres">
      <dgm:prSet presAssocID="{266F3040-1142-49D8-B502-BEEBA8934448}" presName="thickLine" presStyleLbl="alignNode1" presStyleIdx="4" presStyleCnt="5"/>
      <dgm:spPr/>
    </dgm:pt>
    <dgm:pt modelId="{312AC657-B1BC-41DA-ABBC-53D72C29CE6F}" type="pres">
      <dgm:prSet presAssocID="{266F3040-1142-49D8-B502-BEEBA8934448}" presName="horz1" presStyleCnt="0"/>
      <dgm:spPr/>
    </dgm:pt>
    <dgm:pt modelId="{3A2D03A2-3B13-4504-8B90-5416A1F312D8}" type="pres">
      <dgm:prSet presAssocID="{266F3040-1142-49D8-B502-BEEBA8934448}" presName="tx1" presStyleLbl="revTx" presStyleIdx="4" presStyleCnt="5"/>
      <dgm:spPr/>
    </dgm:pt>
    <dgm:pt modelId="{B27A7B00-964C-47D5-87D8-0657552A5DDD}" type="pres">
      <dgm:prSet presAssocID="{266F3040-1142-49D8-B502-BEEBA8934448}" presName="vert1" presStyleCnt="0"/>
      <dgm:spPr/>
    </dgm:pt>
  </dgm:ptLst>
  <dgm:cxnLst>
    <dgm:cxn modelId="{7E9FB409-F927-41DB-8677-0B07BA54B476}" type="presOf" srcId="{A9EF9F1D-7CEC-4655-ADD4-8BB0C86AD561}" destId="{D4D8E764-4021-46E1-9AB5-0F090460ED01}" srcOrd="0" destOrd="0" presId="urn:microsoft.com/office/officeart/2008/layout/LinedList"/>
    <dgm:cxn modelId="{9166391F-9A0F-4529-93D2-C95A620821FC}" type="presOf" srcId="{DD54A944-5553-4280-BD8D-424D1DE3D1B4}" destId="{59E71026-EAFE-4131-8EF6-52FA1518E27B}" srcOrd="0" destOrd="0" presId="urn:microsoft.com/office/officeart/2008/layout/LinedList"/>
    <dgm:cxn modelId="{0FDFA75D-BC46-4AF2-86E7-E54ED15BDDB8}" srcId="{7AD11C9A-9108-46A8-9154-43DFED3114E7}" destId="{DD54A944-5553-4280-BD8D-424D1DE3D1B4}" srcOrd="3" destOrd="0" parTransId="{E6902A69-F64A-4152-9451-A683F9E1636A}" sibTransId="{C21451ED-38F2-4529-A201-32016AEF30B7}"/>
    <dgm:cxn modelId="{F19A6554-6568-47A1-A337-9EA6CFC3AF46}" srcId="{7AD11C9A-9108-46A8-9154-43DFED3114E7}" destId="{4BBE8A43-6FF3-4ED7-9B05-E67CC67BF2DD}" srcOrd="1" destOrd="0" parTransId="{3C3314B5-2702-4282-9D3E-3CC051C162FD}" sibTransId="{ABFB80E2-2DE8-4A26-A889-0129143F9E5E}"/>
    <dgm:cxn modelId="{CDCC345A-75AD-441A-A280-219AF40E6469}" type="presOf" srcId="{7AD11C9A-9108-46A8-9154-43DFED3114E7}" destId="{71334F62-6BB4-44E4-80E4-4C597174080A}" srcOrd="0" destOrd="0" presId="urn:microsoft.com/office/officeart/2008/layout/LinedList"/>
    <dgm:cxn modelId="{2009F9AA-5C59-49E6-983D-7474AFC2AB3D}" srcId="{7AD11C9A-9108-46A8-9154-43DFED3114E7}" destId="{8EDFD455-5114-4774-9D33-1A0EA4A51D3F}" srcOrd="2" destOrd="0" parTransId="{ED687D66-BB6D-451A-831D-C91B31BEF183}" sibTransId="{7C5E25D3-0491-4CE8-9886-26D4E4C01230}"/>
    <dgm:cxn modelId="{2EE9BDB6-21CE-4BAD-AA78-953B6AD935EC}" type="presOf" srcId="{4BBE8A43-6FF3-4ED7-9B05-E67CC67BF2DD}" destId="{0E95FA2C-A6C5-44DE-AAD6-46B371E34AE3}" srcOrd="0" destOrd="0" presId="urn:microsoft.com/office/officeart/2008/layout/LinedList"/>
    <dgm:cxn modelId="{05FD1CD0-1BB4-4BD8-AB64-29D8ACD75787}" type="presOf" srcId="{266F3040-1142-49D8-B502-BEEBA8934448}" destId="{3A2D03A2-3B13-4504-8B90-5416A1F312D8}" srcOrd="0" destOrd="0" presId="urn:microsoft.com/office/officeart/2008/layout/LinedList"/>
    <dgm:cxn modelId="{A46507DF-3929-42B0-97AD-87641F34967F}" srcId="{7AD11C9A-9108-46A8-9154-43DFED3114E7}" destId="{266F3040-1142-49D8-B502-BEEBA8934448}" srcOrd="4" destOrd="0" parTransId="{003F8FC4-1953-46EE-9BC9-0FE9E3F36068}" sibTransId="{134CCAA2-E400-4A8B-98F7-451EFAA8985B}"/>
    <dgm:cxn modelId="{8AD8F2EA-370E-4FE7-80BB-A28F4C119A2B}" type="presOf" srcId="{8EDFD455-5114-4774-9D33-1A0EA4A51D3F}" destId="{EB5690F6-8FA6-4738-9564-982279FD02F0}" srcOrd="0" destOrd="0" presId="urn:microsoft.com/office/officeart/2008/layout/LinedList"/>
    <dgm:cxn modelId="{603EF1F7-3EE4-465F-B33B-43CBFAB874A7}" srcId="{7AD11C9A-9108-46A8-9154-43DFED3114E7}" destId="{A9EF9F1D-7CEC-4655-ADD4-8BB0C86AD561}" srcOrd="0" destOrd="0" parTransId="{FF966341-4A2E-4426-B072-3592E64602D1}" sibTransId="{0106BE5F-CF14-40BE-BF58-D58BE5DFCE26}"/>
    <dgm:cxn modelId="{59A3FF61-69DC-43D6-BF79-EDAD221E18DC}" type="presParOf" srcId="{71334F62-6BB4-44E4-80E4-4C597174080A}" destId="{AB78AA43-627A-406C-B9A6-67B6618C2457}" srcOrd="0" destOrd="0" presId="urn:microsoft.com/office/officeart/2008/layout/LinedList"/>
    <dgm:cxn modelId="{CD948172-D25A-4638-B0D9-A053148EDF5F}" type="presParOf" srcId="{71334F62-6BB4-44E4-80E4-4C597174080A}" destId="{A01AFED1-E3B1-4968-A84F-C6ADA2BA5621}" srcOrd="1" destOrd="0" presId="urn:microsoft.com/office/officeart/2008/layout/LinedList"/>
    <dgm:cxn modelId="{B6498A8A-419B-4454-871F-84812E64B97E}" type="presParOf" srcId="{A01AFED1-E3B1-4968-A84F-C6ADA2BA5621}" destId="{D4D8E764-4021-46E1-9AB5-0F090460ED01}" srcOrd="0" destOrd="0" presId="urn:microsoft.com/office/officeart/2008/layout/LinedList"/>
    <dgm:cxn modelId="{6F2DAD9B-0DD1-41CB-8480-9681AE7BFD8E}" type="presParOf" srcId="{A01AFED1-E3B1-4968-A84F-C6ADA2BA5621}" destId="{21CF4057-0AC2-4EFB-9239-00963E37F9FF}" srcOrd="1" destOrd="0" presId="urn:microsoft.com/office/officeart/2008/layout/LinedList"/>
    <dgm:cxn modelId="{A8866375-BD29-4F71-A113-154115CDE61C}" type="presParOf" srcId="{71334F62-6BB4-44E4-80E4-4C597174080A}" destId="{CC36BAF8-1AFE-4899-B73A-8CCCE3AC255C}" srcOrd="2" destOrd="0" presId="urn:microsoft.com/office/officeart/2008/layout/LinedList"/>
    <dgm:cxn modelId="{CA87B2C2-C226-4ED9-B5EF-028F33DA5710}" type="presParOf" srcId="{71334F62-6BB4-44E4-80E4-4C597174080A}" destId="{F7DF9F95-6600-4F93-845A-64FFA8225750}" srcOrd="3" destOrd="0" presId="urn:microsoft.com/office/officeart/2008/layout/LinedList"/>
    <dgm:cxn modelId="{649BD07C-D342-4404-89C4-504F948FFDBA}" type="presParOf" srcId="{F7DF9F95-6600-4F93-845A-64FFA8225750}" destId="{0E95FA2C-A6C5-44DE-AAD6-46B371E34AE3}" srcOrd="0" destOrd="0" presId="urn:microsoft.com/office/officeart/2008/layout/LinedList"/>
    <dgm:cxn modelId="{A80EBD5C-0584-4386-831A-BFA0414583E0}" type="presParOf" srcId="{F7DF9F95-6600-4F93-845A-64FFA8225750}" destId="{DA5BD0C4-4943-4DB5-B482-F30843CE7C11}" srcOrd="1" destOrd="0" presId="urn:microsoft.com/office/officeart/2008/layout/LinedList"/>
    <dgm:cxn modelId="{D7ADDA52-6A31-4C5F-850D-EF9ED9F8ACEE}" type="presParOf" srcId="{71334F62-6BB4-44E4-80E4-4C597174080A}" destId="{B656C258-6755-4B24-A805-7ECD80874D7B}" srcOrd="4" destOrd="0" presId="urn:microsoft.com/office/officeart/2008/layout/LinedList"/>
    <dgm:cxn modelId="{07B2220B-1A30-4A32-98C1-0FF639F541EA}" type="presParOf" srcId="{71334F62-6BB4-44E4-80E4-4C597174080A}" destId="{5633CE89-9781-4DFC-BA2D-E67608CA048F}" srcOrd="5" destOrd="0" presId="urn:microsoft.com/office/officeart/2008/layout/LinedList"/>
    <dgm:cxn modelId="{1C365E5B-A4B3-4EE1-9DDB-D9744FFBB8B4}" type="presParOf" srcId="{5633CE89-9781-4DFC-BA2D-E67608CA048F}" destId="{EB5690F6-8FA6-4738-9564-982279FD02F0}" srcOrd="0" destOrd="0" presId="urn:microsoft.com/office/officeart/2008/layout/LinedList"/>
    <dgm:cxn modelId="{66A44D57-C25F-45F7-BB8B-4F20F9901E94}" type="presParOf" srcId="{5633CE89-9781-4DFC-BA2D-E67608CA048F}" destId="{AB5DD38E-978C-4D34-BB5D-BD66AD73F587}" srcOrd="1" destOrd="0" presId="urn:microsoft.com/office/officeart/2008/layout/LinedList"/>
    <dgm:cxn modelId="{7A4602D6-8232-4CCE-8BFA-974FC8633749}" type="presParOf" srcId="{71334F62-6BB4-44E4-80E4-4C597174080A}" destId="{843C00C9-9DF6-4517-B6A5-745277B4F6C0}" srcOrd="6" destOrd="0" presId="urn:microsoft.com/office/officeart/2008/layout/LinedList"/>
    <dgm:cxn modelId="{FC400AD6-1013-4A81-9CA0-550B6F34BA9B}" type="presParOf" srcId="{71334F62-6BB4-44E4-80E4-4C597174080A}" destId="{9001D4F4-907E-4B56-8154-C5FA1A720BAF}" srcOrd="7" destOrd="0" presId="urn:microsoft.com/office/officeart/2008/layout/LinedList"/>
    <dgm:cxn modelId="{3CBADDDE-91A0-4FAC-9DC1-7303B5F61D03}" type="presParOf" srcId="{9001D4F4-907E-4B56-8154-C5FA1A720BAF}" destId="{59E71026-EAFE-4131-8EF6-52FA1518E27B}" srcOrd="0" destOrd="0" presId="urn:microsoft.com/office/officeart/2008/layout/LinedList"/>
    <dgm:cxn modelId="{AE689E39-7FAF-48F3-98D8-858C486E556C}" type="presParOf" srcId="{9001D4F4-907E-4B56-8154-C5FA1A720BAF}" destId="{9D9AECEF-8DAB-46E0-8672-40477E8448D7}" srcOrd="1" destOrd="0" presId="urn:microsoft.com/office/officeart/2008/layout/LinedList"/>
    <dgm:cxn modelId="{0CF6E8B4-4372-4789-BF27-DC86262C7F23}" type="presParOf" srcId="{71334F62-6BB4-44E4-80E4-4C597174080A}" destId="{B39073DB-8142-4736-BD83-55565C6BF272}" srcOrd="8" destOrd="0" presId="urn:microsoft.com/office/officeart/2008/layout/LinedList"/>
    <dgm:cxn modelId="{08438457-0832-466C-8161-BBAC0E705B7D}" type="presParOf" srcId="{71334F62-6BB4-44E4-80E4-4C597174080A}" destId="{312AC657-B1BC-41DA-ABBC-53D72C29CE6F}" srcOrd="9" destOrd="0" presId="urn:microsoft.com/office/officeart/2008/layout/LinedList"/>
    <dgm:cxn modelId="{804869AD-DF98-4743-8358-1534D5E107EF}" type="presParOf" srcId="{312AC657-B1BC-41DA-ABBC-53D72C29CE6F}" destId="{3A2D03A2-3B13-4504-8B90-5416A1F312D8}" srcOrd="0" destOrd="0" presId="urn:microsoft.com/office/officeart/2008/layout/LinedList"/>
    <dgm:cxn modelId="{46E925ED-1953-4D19-99EC-DA79FE46E1AF}" type="presParOf" srcId="{312AC657-B1BC-41DA-ABBC-53D72C29CE6F}" destId="{B27A7B00-964C-47D5-87D8-0657552A5DDD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C229A0-8379-49E4-BFA6-C907BDA7212B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accent2_2" csCatId="accent2" phldr="1"/>
      <dgm:spPr/>
      <dgm:t>
        <a:bodyPr/>
        <a:lstStyle/>
        <a:p>
          <a:endParaRPr lang="en-US"/>
        </a:p>
      </dgm:t>
    </dgm:pt>
    <dgm:pt modelId="{4C635F56-DC0A-462C-B5B8-B04DB6CFE8CB}">
      <dgm:prSet/>
      <dgm:spPr/>
      <dgm:t>
        <a:bodyPr/>
        <a:lstStyle/>
        <a:p>
          <a:pPr>
            <a:defRPr b="1"/>
          </a:pPr>
          <a:r>
            <a:rPr lang="en-US" b="1"/>
            <a:t>Who: </a:t>
          </a:r>
          <a:r>
            <a:rPr lang="en-US" b="1" i="0"/>
            <a:t> </a:t>
          </a:r>
          <a:endParaRPr lang="en-US"/>
        </a:p>
      </dgm:t>
    </dgm:pt>
    <dgm:pt modelId="{98CCC830-150E-48BF-8F44-249E700886CD}" type="parTrans" cxnId="{057EFDAF-460E-463A-8DDE-6913D2A92AC4}">
      <dgm:prSet/>
      <dgm:spPr/>
      <dgm:t>
        <a:bodyPr/>
        <a:lstStyle/>
        <a:p>
          <a:endParaRPr lang="en-US"/>
        </a:p>
      </dgm:t>
    </dgm:pt>
    <dgm:pt modelId="{8B7152CB-FEFE-4E1D-BD6D-D2BC395801EE}" type="sibTrans" cxnId="{057EFDAF-460E-463A-8DDE-6913D2A92AC4}">
      <dgm:prSet/>
      <dgm:spPr/>
      <dgm:t>
        <a:bodyPr/>
        <a:lstStyle/>
        <a:p>
          <a:endParaRPr lang="en-US"/>
        </a:p>
      </dgm:t>
    </dgm:pt>
    <dgm:pt modelId="{7641CF48-60ED-4178-9376-44C497F631FE}">
      <dgm:prSet/>
      <dgm:spPr/>
      <dgm:t>
        <a:bodyPr/>
        <a:lstStyle/>
        <a:p>
          <a:r>
            <a:rPr lang="en-US" b="0" i="0"/>
            <a:t>Private Entities</a:t>
          </a:r>
          <a:endParaRPr lang="en-US"/>
        </a:p>
      </dgm:t>
    </dgm:pt>
    <dgm:pt modelId="{ED600EDD-E703-4FA6-BFA5-9BDEDF4FB326}" type="parTrans" cxnId="{7FC040C6-8F9B-4A4E-BF64-5EBCC4BCF588}">
      <dgm:prSet/>
      <dgm:spPr/>
      <dgm:t>
        <a:bodyPr/>
        <a:lstStyle/>
        <a:p>
          <a:endParaRPr lang="en-US"/>
        </a:p>
      </dgm:t>
    </dgm:pt>
    <dgm:pt modelId="{D745843A-161E-4B92-A811-6AB18DA7D315}" type="sibTrans" cxnId="{7FC040C6-8F9B-4A4E-BF64-5EBCC4BCF588}">
      <dgm:prSet/>
      <dgm:spPr/>
      <dgm:t>
        <a:bodyPr/>
        <a:lstStyle/>
        <a:p>
          <a:endParaRPr lang="en-US"/>
        </a:p>
      </dgm:t>
    </dgm:pt>
    <dgm:pt modelId="{A7BE9E65-87E4-4A6A-9A16-AF4C40552A67}">
      <dgm:prSet/>
      <dgm:spPr/>
      <dgm:t>
        <a:bodyPr/>
        <a:lstStyle/>
        <a:p>
          <a:r>
            <a:rPr lang="en-US" b="0" i="0"/>
            <a:t>Montana Nonprofits</a:t>
          </a:r>
          <a:endParaRPr lang="en-US"/>
        </a:p>
      </dgm:t>
    </dgm:pt>
    <dgm:pt modelId="{9CE58A2C-3A05-4823-A968-C193EE374077}" type="parTrans" cxnId="{72B3A110-69C5-402B-B624-D9A96E376F75}">
      <dgm:prSet/>
      <dgm:spPr/>
      <dgm:t>
        <a:bodyPr/>
        <a:lstStyle/>
        <a:p>
          <a:endParaRPr lang="en-US"/>
        </a:p>
      </dgm:t>
    </dgm:pt>
    <dgm:pt modelId="{7B3D63FA-39B2-494A-860E-92AD6CAEA533}" type="sibTrans" cxnId="{72B3A110-69C5-402B-B624-D9A96E376F75}">
      <dgm:prSet/>
      <dgm:spPr/>
      <dgm:t>
        <a:bodyPr/>
        <a:lstStyle/>
        <a:p>
          <a:endParaRPr lang="en-US"/>
        </a:p>
      </dgm:t>
    </dgm:pt>
    <dgm:pt modelId="{9DEA70E2-FE30-4D74-B704-51CC9EA86BF9}">
      <dgm:prSet/>
      <dgm:spPr/>
      <dgm:t>
        <a:bodyPr/>
        <a:lstStyle/>
        <a:p>
          <a:r>
            <a:rPr lang="en-US" b="0" i="0"/>
            <a:t>Cooperatives</a:t>
          </a:r>
          <a:endParaRPr lang="en-US"/>
        </a:p>
      </dgm:t>
    </dgm:pt>
    <dgm:pt modelId="{150A5CB3-3300-4282-988A-3F8EF393D080}" type="parTrans" cxnId="{52D229D1-30AA-417F-8D9A-F046E2EB3C43}">
      <dgm:prSet/>
      <dgm:spPr/>
      <dgm:t>
        <a:bodyPr/>
        <a:lstStyle/>
        <a:p>
          <a:endParaRPr lang="en-US"/>
        </a:p>
      </dgm:t>
    </dgm:pt>
    <dgm:pt modelId="{8D559C73-1B68-4CAD-A5DC-7FA62508AB0E}" type="sibTrans" cxnId="{52D229D1-30AA-417F-8D9A-F046E2EB3C43}">
      <dgm:prSet/>
      <dgm:spPr/>
      <dgm:t>
        <a:bodyPr/>
        <a:lstStyle/>
        <a:p>
          <a:endParaRPr lang="en-US"/>
        </a:p>
      </dgm:t>
    </dgm:pt>
    <dgm:pt modelId="{CAAD02C6-4822-4647-AE9E-BC8171B049A7}">
      <dgm:prSet/>
      <dgm:spPr/>
      <dgm:t>
        <a:bodyPr/>
        <a:lstStyle/>
        <a:p>
          <a:r>
            <a:rPr lang="en-US" b="0" i="0"/>
            <a:t>Partnerships </a:t>
          </a:r>
          <a:endParaRPr lang="en-US"/>
        </a:p>
      </dgm:t>
    </dgm:pt>
    <dgm:pt modelId="{F7706C54-AF36-4AC2-AB31-9CF6B173C55C}" type="parTrans" cxnId="{0C682AE8-963C-49C6-9BBC-E08ABEA0C4A1}">
      <dgm:prSet/>
      <dgm:spPr/>
      <dgm:t>
        <a:bodyPr/>
        <a:lstStyle/>
        <a:p>
          <a:endParaRPr lang="en-US"/>
        </a:p>
      </dgm:t>
    </dgm:pt>
    <dgm:pt modelId="{FD830421-206D-4885-9771-71B1D8754642}" type="sibTrans" cxnId="{0C682AE8-963C-49C6-9BBC-E08ABEA0C4A1}">
      <dgm:prSet/>
      <dgm:spPr/>
      <dgm:t>
        <a:bodyPr/>
        <a:lstStyle/>
        <a:p>
          <a:endParaRPr lang="en-US"/>
        </a:p>
      </dgm:t>
    </dgm:pt>
    <dgm:pt modelId="{10A1250F-ABDD-453F-9FE3-FEEA42279DF0}">
      <dgm:prSet/>
      <dgm:spPr/>
      <dgm:t>
        <a:bodyPr/>
        <a:lstStyle/>
        <a:p>
          <a:pPr>
            <a:defRPr b="1"/>
          </a:pPr>
          <a:r>
            <a:rPr lang="en-US" b="1"/>
            <a:t>What: </a:t>
          </a:r>
          <a:endParaRPr lang="en-US"/>
        </a:p>
      </dgm:t>
    </dgm:pt>
    <dgm:pt modelId="{6584C4A4-41D9-41E8-A191-4271C0773A00}" type="parTrans" cxnId="{C93AD344-B7F4-4377-A92B-66CA5EC55259}">
      <dgm:prSet/>
      <dgm:spPr/>
      <dgm:t>
        <a:bodyPr/>
        <a:lstStyle/>
        <a:p>
          <a:endParaRPr lang="en-US"/>
        </a:p>
      </dgm:t>
    </dgm:pt>
    <dgm:pt modelId="{1D897519-7ED6-4D64-B0B3-D334AE578277}" type="sibTrans" cxnId="{C93AD344-B7F4-4377-A92B-66CA5EC55259}">
      <dgm:prSet/>
      <dgm:spPr/>
      <dgm:t>
        <a:bodyPr/>
        <a:lstStyle/>
        <a:p>
          <a:endParaRPr lang="en-US"/>
        </a:p>
      </dgm:t>
    </dgm:pt>
    <dgm:pt modelId="{DA3F8E6A-D4D5-42F9-A36A-510C648A308A}">
      <dgm:prSet/>
      <dgm:spPr/>
      <dgm:t>
        <a:bodyPr/>
        <a:lstStyle/>
        <a:p>
          <a:r>
            <a:rPr lang="en-US"/>
            <a:t>Acquiring/installing middle or last mile broadband infrastructure </a:t>
          </a:r>
        </a:p>
      </dgm:t>
    </dgm:pt>
    <dgm:pt modelId="{9F8022ED-40F8-4CDC-B3E7-06BADF95758B}" type="parTrans" cxnId="{780435FD-505E-4279-B924-8F43E944547D}">
      <dgm:prSet/>
      <dgm:spPr/>
      <dgm:t>
        <a:bodyPr/>
        <a:lstStyle/>
        <a:p>
          <a:endParaRPr lang="en-US"/>
        </a:p>
      </dgm:t>
    </dgm:pt>
    <dgm:pt modelId="{AE58E30A-419D-48F8-92C6-459E03D15E0F}" type="sibTrans" cxnId="{780435FD-505E-4279-B924-8F43E944547D}">
      <dgm:prSet/>
      <dgm:spPr/>
      <dgm:t>
        <a:bodyPr/>
        <a:lstStyle/>
        <a:p>
          <a:endParaRPr lang="en-US"/>
        </a:p>
      </dgm:t>
    </dgm:pt>
    <dgm:pt modelId="{97C9B7C9-5EA7-41EF-8DF3-94128E88D69B}">
      <dgm:prSet/>
      <dgm:spPr/>
      <dgm:t>
        <a:bodyPr/>
        <a:lstStyle/>
        <a:p>
          <a:pPr>
            <a:defRPr b="1"/>
          </a:pPr>
          <a:r>
            <a:rPr lang="en-US" b="1"/>
            <a:t>Where: </a:t>
          </a:r>
          <a:endParaRPr lang="en-US"/>
        </a:p>
      </dgm:t>
    </dgm:pt>
    <dgm:pt modelId="{65C33892-F29B-4116-B0A9-4BD2F78C4B85}" type="parTrans" cxnId="{94E68377-0025-4668-8190-D4B2D88FECE1}">
      <dgm:prSet/>
      <dgm:spPr/>
      <dgm:t>
        <a:bodyPr/>
        <a:lstStyle/>
        <a:p>
          <a:endParaRPr lang="en-US"/>
        </a:p>
      </dgm:t>
    </dgm:pt>
    <dgm:pt modelId="{1041D473-6F59-4B0D-B86F-2CF9A20892A5}" type="sibTrans" cxnId="{94E68377-0025-4668-8190-D4B2D88FECE1}">
      <dgm:prSet/>
      <dgm:spPr/>
      <dgm:t>
        <a:bodyPr/>
        <a:lstStyle/>
        <a:p>
          <a:endParaRPr lang="en-US"/>
        </a:p>
      </dgm:t>
    </dgm:pt>
    <dgm:pt modelId="{477914C7-9D0C-4C2D-99DD-E145C6337E26}">
      <dgm:prSet/>
      <dgm:spPr/>
      <dgm:t>
        <a:bodyPr/>
        <a:lstStyle/>
        <a:p>
          <a:r>
            <a:rPr lang="en-US"/>
            <a:t>Frontier </a:t>
          </a:r>
        </a:p>
      </dgm:t>
    </dgm:pt>
    <dgm:pt modelId="{83BBDF90-1EED-4AE4-AD4A-86C321295BBA}" type="parTrans" cxnId="{37E5C9B1-2906-4464-8067-A269BB9BDC57}">
      <dgm:prSet/>
      <dgm:spPr/>
      <dgm:t>
        <a:bodyPr/>
        <a:lstStyle/>
        <a:p>
          <a:endParaRPr lang="en-US"/>
        </a:p>
      </dgm:t>
    </dgm:pt>
    <dgm:pt modelId="{3F9EDFDB-2850-48CA-97D7-55B580176734}" type="sibTrans" cxnId="{37E5C9B1-2906-4464-8067-A269BB9BDC57}">
      <dgm:prSet/>
      <dgm:spPr/>
      <dgm:t>
        <a:bodyPr/>
        <a:lstStyle/>
        <a:p>
          <a:endParaRPr lang="en-US"/>
        </a:p>
      </dgm:t>
    </dgm:pt>
    <dgm:pt modelId="{7A1C143E-6096-49DC-A278-1E885F56B223}">
      <dgm:prSet/>
      <dgm:spPr/>
      <dgm:t>
        <a:bodyPr/>
        <a:lstStyle/>
        <a:p>
          <a:r>
            <a:rPr lang="en-US"/>
            <a:t>Unserved</a:t>
          </a:r>
        </a:p>
      </dgm:t>
    </dgm:pt>
    <dgm:pt modelId="{818E4E86-3F81-45BE-B9F4-0B8C6B9D2C3D}" type="parTrans" cxnId="{FFA4B7F4-D2E5-4767-87B0-B33659F9181B}">
      <dgm:prSet/>
      <dgm:spPr/>
      <dgm:t>
        <a:bodyPr/>
        <a:lstStyle/>
        <a:p>
          <a:endParaRPr lang="en-US"/>
        </a:p>
      </dgm:t>
    </dgm:pt>
    <dgm:pt modelId="{2AF3F9B9-3CDE-454A-BA52-A3CEBDBFECEE}" type="sibTrans" cxnId="{FFA4B7F4-D2E5-4767-87B0-B33659F9181B}">
      <dgm:prSet/>
      <dgm:spPr/>
      <dgm:t>
        <a:bodyPr/>
        <a:lstStyle/>
        <a:p>
          <a:endParaRPr lang="en-US"/>
        </a:p>
      </dgm:t>
    </dgm:pt>
    <dgm:pt modelId="{167D9994-BB0C-40B4-BC06-5A6BA0452537}">
      <dgm:prSet/>
      <dgm:spPr/>
      <dgm:t>
        <a:bodyPr/>
        <a:lstStyle/>
        <a:p>
          <a:r>
            <a:rPr lang="en-US"/>
            <a:t>Underserved Areas </a:t>
          </a:r>
        </a:p>
      </dgm:t>
    </dgm:pt>
    <dgm:pt modelId="{E2FC6EDE-4066-40E8-8DC0-0143BF3D5143}" type="parTrans" cxnId="{CA073D45-489A-40B6-BB94-6C10D33F4C9F}">
      <dgm:prSet/>
      <dgm:spPr/>
      <dgm:t>
        <a:bodyPr/>
        <a:lstStyle/>
        <a:p>
          <a:endParaRPr lang="en-US"/>
        </a:p>
      </dgm:t>
    </dgm:pt>
    <dgm:pt modelId="{96F3A2B0-15E3-477B-BABF-AA13470B8BF4}" type="sibTrans" cxnId="{CA073D45-489A-40B6-BB94-6C10D33F4C9F}">
      <dgm:prSet/>
      <dgm:spPr/>
      <dgm:t>
        <a:bodyPr/>
        <a:lstStyle/>
        <a:p>
          <a:endParaRPr lang="en-US"/>
        </a:p>
      </dgm:t>
    </dgm:pt>
    <dgm:pt modelId="{9309BCDB-8380-44A9-AD74-8EF2270B5E89}" type="pres">
      <dgm:prSet presAssocID="{F7C229A0-8379-49E4-BFA6-C907BDA7212B}" presName="root" presStyleCnt="0">
        <dgm:presLayoutVars>
          <dgm:dir/>
          <dgm:resizeHandles val="exact"/>
        </dgm:presLayoutVars>
      </dgm:prSet>
      <dgm:spPr/>
    </dgm:pt>
    <dgm:pt modelId="{F6D454C6-411C-4FF4-811D-FCBB3AC5847D}" type="pres">
      <dgm:prSet presAssocID="{4C635F56-DC0A-462C-B5B8-B04DB6CFE8CB}" presName="compNode" presStyleCnt="0"/>
      <dgm:spPr/>
    </dgm:pt>
    <dgm:pt modelId="{C9FD7912-1E09-494D-B220-69A4B4CFBBBC}" type="pres">
      <dgm:prSet presAssocID="{4C635F56-DC0A-462C-B5B8-B04DB6CFE8C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5C361497-C174-432A-BF9B-0E08F5DD92EF}" type="pres">
      <dgm:prSet presAssocID="{4C635F56-DC0A-462C-B5B8-B04DB6CFE8CB}" presName="iconSpace" presStyleCnt="0"/>
      <dgm:spPr/>
    </dgm:pt>
    <dgm:pt modelId="{C375A468-2E15-404A-AF0E-B085338E7B53}" type="pres">
      <dgm:prSet presAssocID="{4C635F56-DC0A-462C-B5B8-B04DB6CFE8CB}" presName="parTx" presStyleLbl="revTx" presStyleIdx="0" presStyleCnt="6">
        <dgm:presLayoutVars>
          <dgm:chMax val="0"/>
          <dgm:chPref val="0"/>
        </dgm:presLayoutVars>
      </dgm:prSet>
      <dgm:spPr/>
    </dgm:pt>
    <dgm:pt modelId="{E37B5656-C647-4BEB-B78E-99687162B37D}" type="pres">
      <dgm:prSet presAssocID="{4C635F56-DC0A-462C-B5B8-B04DB6CFE8CB}" presName="txSpace" presStyleCnt="0"/>
      <dgm:spPr/>
    </dgm:pt>
    <dgm:pt modelId="{EA24D279-C30A-4EF3-A693-28C58A05E219}" type="pres">
      <dgm:prSet presAssocID="{4C635F56-DC0A-462C-B5B8-B04DB6CFE8CB}" presName="desTx" presStyleLbl="revTx" presStyleIdx="1" presStyleCnt="6">
        <dgm:presLayoutVars/>
      </dgm:prSet>
      <dgm:spPr/>
    </dgm:pt>
    <dgm:pt modelId="{2E17CE8A-7670-454B-8D4B-21D63334BC48}" type="pres">
      <dgm:prSet presAssocID="{8B7152CB-FEFE-4E1D-BD6D-D2BC395801EE}" presName="sibTrans" presStyleCnt="0"/>
      <dgm:spPr/>
    </dgm:pt>
    <dgm:pt modelId="{F05BEBD9-81C8-4251-8609-2EC0BD04857B}" type="pres">
      <dgm:prSet presAssocID="{10A1250F-ABDD-453F-9FE3-FEEA42279DF0}" presName="compNode" presStyleCnt="0"/>
      <dgm:spPr/>
    </dgm:pt>
    <dgm:pt modelId="{5E943138-1F1C-48EF-9998-D9CE357EB5B5}" type="pres">
      <dgm:prSet presAssocID="{10A1250F-ABDD-453F-9FE3-FEEA42279DF0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ireless router"/>
        </a:ext>
      </dgm:extLst>
    </dgm:pt>
    <dgm:pt modelId="{C4340FE1-0DCF-452A-B77D-C3D59ED798EA}" type="pres">
      <dgm:prSet presAssocID="{10A1250F-ABDD-453F-9FE3-FEEA42279DF0}" presName="iconSpace" presStyleCnt="0"/>
      <dgm:spPr/>
    </dgm:pt>
    <dgm:pt modelId="{CF2588D8-4805-4437-A445-BCC9E95B27AD}" type="pres">
      <dgm:prSet presAssocID="{10A1250F-ABDD-453F-9FE3-FEEA42279DF0}" presName="parTx" presStyleLbl="revTx" presStyleIdx="2" presStyleCnt="6">
        <dgm:presLayoutVars>
          <dgm:chMax val="0"/>
          <dgm:chPref val="0"/>
        </dgm:presLayoutVars>
      </dgm:prSet>
      <dgm:spPr/>
    </dgm:pt>
    <dgm:pt modelId="{6C00DC56-1C68-43BF-BD8E-B2A746D331C8}" type="pres">
      <dgm:prSet presAssocID="{10A1250F-ABDD-453F-9FE3-FEEA42279DF0}" presName="txSpace" presStyleCnt="0"/>
      <dgm:spPr/>
    </dgm:pt>
    <dgm:pt modelId="{9E3A1B15-A247-421A-8DEC-0D4B64BC62F0}" type="pres">
      <dgm:prSet presAssocID="{10A1250F-ABDD-453F-9FE3-FEEA42279DF0}" presName="desTx" presStyleLbl="revTx" presStyleIdx="3" presStyleCnt="6">
        <dgm:presLayoutVars/>
      </dgm:prSet>
      <dgm:spPr/>
    </dgm:pt>
    <dgm:pt modelId="{AF367715-35A5-4AF2-835C-4CEDD5F32EE8}" type="pres">
      <dgm:prSet presAssocID="{1D897519-7ED6-4D64-B0B3-D334AE578277}" presName="sibTrans" presStyleCnt="0"/>
      <dgm:spPr/>
    </dgm:pt>
    <dgm:pt modelId="{92D04C9E-DD56-405F-8A8F-B4464842FC28}" type="pres">
      <dgm:prSet presAssocID="{97C9B7C9-5EA7-41EF-8DF3-94128E88D69B}" presName="compNode" presStyleCnt="0"/>
      <dgm:spPr/>
    </dgm:pt>
    <dgm:pt modelId="{7BC69D55-DEF2-4BA4-893E-80F0C5C98110}" type="pres">
      <dgm:prSet presAssocID="{97C9B7C9-5EA7-41EF-8DF3-94128E88D69B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p with pin"/>
        </a:ext>
      </dgm:extLst>
    </dgm:pt>
    <dgm:pt modelId="{CD5C6C94-227F-4FC4-B8B8-F1FEB4AF5BB3}" type="pres">
      <dgm:prSet presAssocID="{97C9B7C9-5EA7-41EF-8DF3-94128E88D69B}" presName="iconSpace" presStyleCnt="0"/>
      <dgm:spPr/>
    </dgm:pt>
    <dgm:pt modelId="{1F377659-B5F5-4DF1-BA5D-A8E407D0FA5E}" type="pres">
      <dgm:prSet presAssocID="{97C9B7C9-5EA7-41EF-8DF3-94128E88D69B}" presName="parTx" presStyleLbl="revTx" presStyleIdx="4" presStyleCnt="6">
        <dgm:presLayoutVars>
          <dgm:chMax val="0"/>
          <dgm:chPref val="0"/>
        </dgm:presLayoutVars>
      </dgm:prSet>
      <dgm:spPr/>
    </dgm:pt>
    <dgm:pt modelId="{6AE04B60-624F-47CD-96FC-750A9B63A55E}" type="pres">
      <dgm:prSet presAssocID="{97C9B7C9-5EA7-41EF-8DF3-94128E88D69B}" presName="txSpace" presStyleCnt="0"/>
      <dgm:spPr/>
    </dgm:pt>
    <dgm:pt modelId="{B73350D4-55D1-4A59-9DBC-7E207A884EAD}" type="pres">
      <dgm:prSet presAssocID="{97C9B7C9-5EA7-41EF-8DF3-94128E88D69B}" presName="desTx" presStyleLbl="revTx" presStyleIdx="5" presStyleCnt="6">
        <dgm:presLayoutVars/>
      </dgm:prSet>
      <dgm:spPr/>
    </dgm:pt>
  </dgm:ptLst>
  <dgm:cxnLst>
    <dgm:cxn modelId="{052E3A06-2DBD-45DC-AD1F-684543959DF1}" type="presOf" srcId="{A7BE9E65-87E4-4A6A-9A16-AF4C40552A67}" destId="{EA24D279-C30A-4EF3-A693-28C58A05E219}" srcOrd="0" destOrd="1" presId="urn:microsoft.com/office/officeart/2018/2/layout/IconLabelDescriptionList"/>
    <dgm:cxn modelId="{72B3A110-69C5-402B-B624-D9A96E376F75}" srcId="{4C635F56-DC0A-462C-B5B8-B04DB6CFE8CB}" destId="{A7BE9E65-87E4-4A6A-9A16-AF4C40552A67}" srcOrd="1" destOrd="0" parTransId="{9CE58A2C-3A05-4823-A968-C193EE374077}" sibTransId="{7B3D63FA-39B2-494A-860E-92AD6CAEA533}"/>
    <dgm:cxn modelId="{A2EA7C2B-6E26-4402-8862-D201F2C2D914}" type="presOf" srcId="{F7C229A0-8379-49E4-BFA6-C907BDA7212B}" destId="{9309BCDB-8380-44A9-AD74-8EF2270B5E89}" srcOrd="0" destOrd="0" presId="urn:microsoft.com/office/officeart/2018/2/layout/IconLabelDescriptionList"/>
    <dgm:cxn modelId="{FE454240-8761-4375-8432-A9E4607D1081}" type="presOf" srcId="{477914C7-9D0C-4C2D-99DD-E145C6337E26}" destId="{B73350D4-55D1-4A59-9DBC-7E207A884EAD}" srcOrd="0" destOrd="0" presId="urn:microsoft.com/office/officeart/2018/2/layout/IconLabelDescriptionList"/>
    <dgm:cxn modelId="{C93AD344-B7F4-4377-A92B-66CA5EC55259}" srcId="{F7C229A0-8379-49E4-BFA6-C907BDA7212B}" destId="{10A1250F-ABDD-453F-9FE3-FEEA42279DF0}" srcOrd="1" destOrd="0" parTransId="{6584C4A4-41D9-41E8-A191-4271C0773A00}" sibTransId="{1D897519-7ED6-4D64-B0B3-D334AE578277}"/>
    <dgm:cxn modelId="{CA073D45-489A-40B6-BB94-6C10D33F4C9F}" srcId="{97C9B7C9-5EA7-41EF-8DF3-94128E88D69B}" destId="{167D9994-BB0C-40B4-BC06-5A6BA0452537}" srcOrd="2" destOrd="0" parTransId="{E2FC6EDE-4066-40E8-8DC0-0143BF3D5143}" sibTransId="{96F3A2B0-15E3-477B-BABF-AA13470B8BF4}"/>
    <dgm:cxn modelId="{A1537C47-8FD9-47A2-8450-7E168580AE68}" type="presOf" srcId="{7641CF48-60ED-4178-9376-44C497F631FE}" destId="{EA24D279-C30A-4EF3-A693-28C58A05E219}" srcOrd="0" destOrd="0" presId="urn:microsoft.com/office/officeart/2018/2/layout/IconLabelDescriptionList"/>
    <dgm:cxn modelId="{94E68377-0025-4668-8190-D4B2D88FECE1}" srcId="{F7C229A0-8379-49E4-BFA6-C907BDA7212B}" destId="{97C9B7C9-5EA7-41EF-8DF3-94128E88D69B}" srcOrd="2" destOrd="0" parTransId="{65C33892-F29B-4116-B0A9-4BD2F78C4B85}" sibTransId="{1041D473-6F59-4B0D-B86F-2CF9A20892A5}"/>
    <dgm:cxn modelId="{1A82557A-C62A-41C0-AA75-BB31C77D1E3B}" type="presOf" srcId="{7A1C143E-6096-49DC-A278-1E885F56B223}" destId="{B73350D4-55D1-4A59-9DBC-7E207A884EAD}" srcOrd="0" destOrd="1" presId="urn:microsoft.com/office/officeart/2018/2/layout/IconLabelDescriptionList"/>
    <dgm:cxn modelId="{2318DF81-1998-4A84-90BB-D24B85F8BDE1}" type="presOf" srcId="{4C635F56-DC0A-462C-B5B8-B04DB6CFE8CB}" destId="{C375A468-2E15-404A-AF0E-B085338E7B53}" srcOrd="0" destOrd="0" presId="urn:microsoft.com/office/officeart/2018/2/layout/IconLabelDescriptionList"/>
    <dgm:cxn modelId="{A028E082-3ED5-49A6-8C35-2E426C79939F}" type="presOf" srcId="{97C9B7C9-5EA7-41EF-8DF3-94128E88D69B}" destId="{1F377659-B5F5-4DF1-BA5D-A8E407D0FA5E}" srcOrd="0" destOrd="0" presId="urn:microsoft.com/office/officeart/2018/2/layout/IconLabelDescriptionList"/>
    <dgm:cxn modelId="{EF63A890-C2E6-4EDE-87DC-665F527E4EA0}" type="presOf" srcId="{9DEA70E2-FE30-4D74-B704-51CC9EA86BF9}" destId="{EA24D279-C30A-4EF3-A693-28C58A05E219}" srcOrd="0" destOrd="2" presId="urn:microsoft.com/office/officeart/2018/2/layout/IconLabelDescriptionList"/>
    <dgm:cxn modelId="{482E65AA-F99D-4362-BF82-C2477EF0A2C3}" type="presOf" srcId="{10A1250F-ABDD-453F-9FE3-FEEA42279DF0}" destId="{CF2588D8-4805-4437-A445-BCC9E95B27AD}" srcOrd="0" destOrd="0" presId="urn:microsoft.com/office/officeart/2018/2/layout/IconLabelDescriptionList"/>
    <dgm:cxn modelId="{057EFDAF-460E-463A-8DDE-6913D2A92AC4}" srcId="{F7C229A0-8379-49E4-BFA6-C907BDA7212B}" destId="{4C635F56-DC0A-462C-B5B8-B04DB6CFE8CB}" srcOrd="0" destOrd="0" parTransId="{98CCC830-150E-48BF-8F44-249E700886CD}" sibTransId="{8B7152CB-FEFE-4E1D-BD6D-D2BC395801EE}"/>
    <dgm:cxn modelId="{37E5C9B1-2906-4464-8067-A269BB9BDC57}" srcId="{97C9B7C9-5EA7-41EF-8DF3-94128E88D69B}" destId="{477914C7-9D0C-4C2D-99DD-E145C6337E26}" srcOrd="0" destOrd="0" parTransId="{83BBDF90-1EED-4AE4-AD4A-86C321295BBA}" sibTransId="{3F9EDFDB-2850-48CA-97D7-55B580176734}"/>
    <dgm:cxn modelId="{7FC040C6-8F9B-4A4E-BF64-5EBCC4BCF588}" srcId="{4C635F56-DC0A-462C-B5B8-B04DB6CFE8CB}" destId="{7641CF48-60ED-4178-9376-44C497F631FE}" srcOrd="0" destOrd="0" parTransId="{ED600EDD-E703-4FA6-BFA5-9BDEDF4FB326}" sibTransId="{D745843A-161E-4B92-A811-6AB18DA7D315}"/>
    <dgm:cxn modelId="{802F2CC7-B07A-4128-BB4C-AFC5C4FCB2A9}" type="presOf" srcId="{CAAD02C6-4822-4647-AE9E-BC8171B049A7}" destId="{EA24D279-C30A-4EF3-A693-28C58A05E219}" srcOrd="0" destOrd="3" presId="urn:microsoft.com/office/officeart/2018/2/layout/IconLabelDescriptionList"/>
    <dgm:cxn modelId="{52D229D1-30AA-417F-8D9A-F046E2EB3C43}" srcId="{4C635F56-DC0A-462C-B5B8-B04DB6CFE8CB}" destId="{9DEA70E2-FE30-4D74-B704-51CC9EA86BF9}" srcOrd="2" destOrd="0" parTransId="{150A5CB3-3300-4282-988A-3F8EF393D080}" sibTransId="{8D559C73-1B68-4CAD-A5DC-7FA62508AB0E}"/>
    <dgm:cxn modelId="{02A9C5D9-998F-4711-BFC3-EE49B9F892F7}" type="presOf" srcId="{DA3F8E6A-D4D5-42F9-A36A-510C648A308A}" destId="{9E3A1B15-A247-421A-8DEC-0D4B64BC62F0}" srcOrd="0" destOrd="0" presId="urn:microsoft.com/office/officeart/2018/2/layout/IconLabelDescriptionList"/>
    <dgm:cxn modelId="{739517E2-0529-4747-9892-3D14C32ABE81}" type="presOf" srcId="{167D9994-BB0C-40B4-BC06-5A6BA0452537}" destId="{B73350D4-55D1-4A59-9DBC-7E207A884EAD}" srcOrd="0" destOrd="2" presId="urn:microsoft.com/office/officeart/2018/2/layout/IconLabelDescriptionList"/>
    <dgm:cxn modelId="{0C682AE8-963C-49C6-9BBC-E08ABEA0C4A1}" srcId="{4C635F56-DC0A-462C-B5B8-B04DB6CFE8CB}" destId="{CAAD02C6-4822-4647-AE9E-BC8171B049A7}" srcOrd="3" destOrd="0" parTransId="{F7706C54-AF36-4AC2-AB31-9CF6B173C55C}" sibTransId="{FD830421-206D-4885-9771-71B1D8754642}"/>
    <dgm:cxn modelId="{FFA4B7F4-D2E5-4767-87B0-B33659F9181B}" srcId="{97C9B7C9-5EA7-41EF-8DF3-94128E88D69B}" destId="{7A1C143E-6096-49DC-A278-1E885F56B223}" srcOrd="1" destOrd="0" parTransId="{818E4E86-3F81-45BE-B9F4-0B8C6B9D2C3D}" sibTransId="{2AF3F9B9-3CDE-454A-BA52-A3CEBDBFECEE}"/>
    <dgm:cxn modelId="{780435FD-505E-4279-B924-8F43E944547D}" srcId="{10A1250F-ABDD-453F-9FE3-FEEA42279DF0}" destId="{DA3F8E6A-D4D5-42F9-A36A-510C648A308A}" srcOrd="0" destOrd="0" parTransId="{9F8022ED-40F8-4CDC-B3E7-06BADF95758B}" sibTransId="{AE58E30A-419D-48F8-92C6-459E03D15E0F}"/>
    <dgm:cxn modelId="{7128504D-4BAC-4402-A634-C619BFA81F19}" type="presParOf" srcId="{9309BCDB-8380-44A9-AD74-8EF2270B5E89}" destId="{F6D454C6-411C-4FF4-811D-FCBB3AC5847D}" srcOrd="0" destOrd="0" presId="urn:microsoft.com/office/officeart/2018/2/layout/IconLabelDescriptionList"/>
    <dgm:cxn modelId="{5AD12898-9ECE-4426-8C9F-704908196333}" type="presParOf" srcId="{F6D454C6-411C-4FF4-811D-FCBB3AC5847D}" destId="{C9FD7912-1E09-494D-B220-69A4B4CFBBBC}" srcOrd="0" destOrd="0" presId="urn:microsoft.com/office/officeart/2018/2/layout/IconLabelDescriptionList"/>
    <dgm:cxn modelId="{D8849BF2-EBD3-4D09-BA0E-60962B905BCA}" type="presParOf" srcId="{F6D454C6-411C-4FF4-811D-FCBB3AC5847D}" destId="{5C361497-C174-432A-BF9B-0E08F5DD92EF}" srcOrd="1" destOrd="0" presId="urn:microsoft.com/office/officeart/2018/2/layout/IconLabelDescriptionList"/>
    <dgm:cxn modelId="{AC29F652-B88F-47A6-A804-8C58C35E71E8}" type="presParOf" srcId="{F6D454C6-411C-4FF4-811D-FCBB3AC5847D}" destId="{C375A468-2E15-404A-AF0E-B085338E7B53}" srcOrd="2" destOrd="0" presId="urn:microsoft.com/office/officeart/2018/2/layout/IconLabelDescriptionList"/>
    <dgm:cxn modelId="{4216B14C-101F-49B1-9E11-97E13C6ABADF}" type="presParOf" srcId="{F6D454C6-411C-4FF4-811D-FCBB3AC5847D}" destId="{E37B5656-C647-4BEB-B78E-99687162B37D}" srcOrd="3" destOrd="0" presId="urn:microsoft.com/office/officeart/2018/2/layout/IconLabelDescriptionList"/>
    <dgm:cxn modelId="{0F64EE7C-29C0-40E1-97C0-A8B2C25A70DB}" type="presParOf" srcId="{F6D454C6-411C-4FF4-811D-FCBB3AC5847D}" destId="{EA24D279-C30A-4EF3-A693-28C58A05E219}" srcOrd="4" destOrd="0" presId="urn:microsoft.com/office/officeart/2018/2/layout/IconLabelDescriptionList"/>
    <dgm:cxn modelId="{A196BC31-4961-4078-8D25-C220AE798DD6}" type="presParOf" srcId="{9309BCDB-8380-44A9-AD74-8EF2270B5E89}" destId="{2E17CE8A-7670-454B-8D4B-21D63334BC48}" srcOrd="1" destOrd="0" presId="urn:microsoft.com/office/officeart/2018/2/layout/IconLabelDescriptionList"/>
    <dgm:cxn modelId="{B1B541C4-FE8E-4800-A00B-23D5189361B7}" type="presParOf" srcId="{9309BCDB-8380-44A9-AD74-8EF2270B5E89}" destId="{F05BEBD9-81C8-4251-8609-2EC0BD04857B}" srcOrd="2" destOrd="0" presId="urn:microsoft.com/office/officeart/2018/2/layout/IconLabelDescriptionList"/>
    <dgm:cxn modelId="{9FE0D4AE-6231-4F60-B54D-8597F6BF63FC}" type="presParOf" srcId="{F05BEBD9-81C8-4251-8609-2EC0BD04857B}" destId="{5E943138-1F1C-48EF-9998-D9CE357EB5B5}" srcOrd="0" destOrd="0" presId="urn:microsoft.com/office/officeart/2018/2/layout/IconLabelDescriptionList"/>
    <dgm:cxn modelId="{E09DC81E-7E6C-4838-B926-3893A4E2EACC}" type="presParOf" srcId="{F05BEBD9-81C8-4251-8609-2EC0BD04857B}" destId="{C4340FE1-0DCF-452A-B77D-C3D59ED798EA}" srcOrd="1" destOrd="0" presId="urn:microsoft.com/office/officeart/2018/2/layout/IconLabelDescriptionList"/>
    <dgm:cxn modelId="{589867D3-C5FB-491D-A83C-366E0C1CEB24}" type="presParOf" srcId="{F05BEBD9-81C8-4251-8609-2EC0BD04857B}" destId="{CF2588D8-4805-4437-A445-BCC9E95B27AD}" srcOrd="2" destOrd="0" presId="urn:microsoft.com/office/officeart/2018/2/layout/IconLabelDescriptionList"/>
    <dgm:cxn modelId="{DAB40D80-DA1D-4F5A-B260-56F6A2D5A351}" type="presParOf" srcId="{F05BEBD9-81C8-4251-8609-2EC0BD04857B}" destId="{6C00DC56-1C68-43BF-BD8E-B2A746D331C8}" srcOrd="3" destOrd="0" presId="urn:microsoft.com/office/officeart/2018/2/layout/IconLabelDescriptionList"/>
    <dgm:cxn modelId="{2DA0D764-DE58-42FF-96DD-FA3EA789069A}" type="presParOf" srcId="{F05BEBD9-81C8-4251-8609-2EC0BD04857B}" destId="{9E3A1B15-A247-421A-8DEC-0D4B64BC62F0}" srcOrd="4" destOrd="0" presId="urn:microsoft.com/office/officeart/2018/2/layout/IconLabelDescriptionList"/>
    <dgm:cxn modelId="{A29C8F41-7F48-4D63-8415-4BBBF5BAFA16}" type="presParOf" srcId="{9309BCDB-8380-44A9-AD74-8EF2270B5E89}" destId="{AF367715-35A5-4AF2-835C-4CEDD5F32EE8}" srcOrd="3" destOrd="0" presId="urn:microsoft.com/office/officeart/2018/2/layout/IconLabelDescriptionList"/>
    <dgm:cxn modelId="{86574082-684D-49FE-933D-152025B951EF}" type="presParOf" srcId="{9309BCDB-8380-44A9-AD74-8EF2270B5E89}" destId="{92D04C9E-DD56-405F-8A8F-B4464842FC28}" srcOrd="4" destOrd="0" presId="urn:microsoft.com/office/officeart/2018/2/layout/IconLabelDescriptionList"/>
    <dgm:cxn modelId="{79FD76C4-5352-4CDD-8B60-F0CEF041D185}" type="presParOf" srcId="{92D04C9E-DD56-405F-8A8F-B4464842FC28}" destId="{7BC69D55-DEF2-4BA4-893E-80F0C5C98110}" srcOrd="0" destOrd="0" presId="urn:microsoft.com/office/officeart/2018/2/layout/IconLabelDescriptionList"/>
    <dgm:cxn modelId="{E8AF239A-5998-48BE-8B62-17AD7F477C48}" type="presParOf" srcId="{92D04C9E-DD56-405F-8A8F-B4464842FC28}" destId="{CD5C6C94-227F-4FC4-B8B8-F1FEB4AF5BB3}" srcOrd="1" destOrd="0" presId="urn:microsoft.com/office/officeart/2018/2/layout/IconLabelDescriptionList"/>
    <dgm:cxn modelId="{D810A291-2BFF-4D11-B891-184DE1C53435}" type="presParOf" srcId="{92D04C9E-DD56-405F-8A8F-B4464842FC28}" destId="{1F377659-B5F5-4DF1-BA5D-A8E407D0FA5E}" srcOrd="2" destOrd="0" presId="urn:microsoft.com/office/officeart/2018/2/layout/IconLabelDescriptionList"/>
    <dgm:cxn modelId="{FA1A2495-9EEC-46CC-ABEF-A70890BC0516}" type="presParOf" srcId="{92D04C9E-DD56-405F-8A8F-B4464842FC28}" destId="{6AE04B60-624F-47CD-96FC-750A9B63A55E}" srcOrd="3" destOrd="0" presId="urn:microsoft.com/office/officeart/2018/2/layout/IconLabelDescriptionList"/>
    <dgm:cxn modelId="{1311C15A-3834-442A-AE9D-5463628DB35D}" type="presParOf" srcId="{92D04C9E-DD56-405F-8A8F-B4464842FC28}" destId="{B73350D4-55D1-4A59-9DBC-7E207A884EAD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B271964-4022-4C9E-ABC2-C790AD5CA340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coloredtext_colorful1" csCatId="colorful" phldr="1"/>
      <dgm:spPr/>
      <dgm:t>
        <a:bodyPr/>
        <a:lstStyle/>
        <a:p>
          <a:endParaRPr lang="en-US"/>
        </a:p>
      </dgm:t>
    </dgm:pt>
    <dgm:pt modelId="{D95DFF09-37E9-4BCD-8A48-245A827C9C8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Technical Narrative</a:t>
          </a:r>
        </a:p>
      </dgm:t>
    </dgm:pt>
    <dgm:pt modelId="{ED2ABE16-15FB-4211-A732-FC09D388148A}" type="parTrans" cxnId="{02C15FA8-5B20-4ECC-8E73-042119982D97}">
      <dgm:prSet/>
      <dgm:spPr/>
      <dgm:t>
        <a:bodyPr/>
        <a:lstStyle/>
        <a:p>
          <a:endParaRPr lang="en-US"/>
        </a:p>
      </dgm:t>
    </dgm:pt>
    <dgm:pt modelId="{863A4646-229B-4EC9-8FB6-8ADF03F16ED7}" type="sibTrans" cxnId="{02C15FA8-5B20-4ECC-8E73-042119982D97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F2C3A28E-6BCB-4665-9947-29AEE31D841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Preliminary Design Drawings  (P.E. Stamped)</a:t>
          </a:r>
        </a:p>
      </dgm:t>
    </dgm:pt>
    <dgm:pt modelId="{D89D2BF3-D05A-4DFD-9156-928017909228}" type="parTrans" cxnId="{C91037E1-7858-4679-92DE-B502F061F6E1}">
      <dgm:prSet/>
      <dgm:spPr/>
      <dgm:t>
        <a:bodyPr/>
        <a:lstStyle/>
        <a:p>
          <a:endParaRPr lang="en-US"/>
        </a:p>
      </dgm:t>
    </dgm:pt>
    <dgm:pt modelId="{7D752E08-4CC4-484B-A992-C65976B9DDD9}" type="sibTrans" cxnId="{C91037E1-7858-4679-92DE-B502F061F6E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4454616-6810-44A0-AA2A-54C3740CAB08}" type="pres">
      <dgm:prSet presAssocID="{BB271964-4022-4C9E-ABC2-C790AD5CA340}" presName="root" presStyleCnt="0">
        <dgm:presLayoutVars>
          <dgm:dir/>
          <dgm:resizeHandles val="exact"/>
        </dgm:presLayoutVars>
      </dgm:prSet>
      <dgm:spPr/>
    </dgm:pt>
    <dgm:pt modelId="{4181D1D1-AE18-4FC1-87DF-51DD33A60CC6}" type="pres">
      <dgm:prSet presAssocID="{BB271964-4022-4C9E-ABC2-C790AD5CA340}" presName="container" presStyleCnt="0">
        <dgm:presLayoutVars>
          <dgm:dir/>
          <dgm:resizeHandles val="exact"/>
        </dgm:presLayoutVars>
      </dgm:prSet>
      <dgm:spPr/>
    </dgm:pt>
    <dgm:pt modelId="{295E3164-4447-40BA-ABE2-09654D99FC30}" type="pres">
      <dgm:prSet presAssocID="{D95DFF09-37E9-4BCD-8A48-245A827C9C8C}" presName="compNode" presStyleCnt="0"/>
      <dgm:spPr/>
    </dgm:pt>
    <dgm:pt modelId="{0FA8C16E-DD3F-4680-8BF2-4539B6C36B08}" type="pres">
      <dgm:prSet presAssocID="{D95DFF09-37E9-4BCD-8A48-245A827C9C8C}" presName="iconBgRect" presStyleLbl="bgShp" presStyleIdx="0" presStyleCnt="2"/>
      <dgm:spPr/>
    </dgm:pt>
    <dgm:pt modelId="{3305F072-83C0-4D7E-865F-E12CA5E7120F}" type="pres">
      <dgm:prSet presAssocID="{D95DFF09-37E9-4BCD-8A48-245A827C9C8C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itor"/>
        </a:ext>
      </dgm:extLst>
    </dgm:pt>
    <dgm:pt modelId="{6229C04A-CC99-4437-8229-36D933F0B50C}" type="pres">
      <dgm:prSet presAssocID="{D95DFF09-37E9-4BCD-8A48-245A827C9C8C}" presName="spaceRect" presStyleCnt="0"/>
      <dgm:spPr/>
    </dgm:pt>
    <dgm:pt modelId="{5503AEE7-60FA-4FDC-9727-A14D460DC933}" type="pres">
      <dgm:prSet presAssocID="{D95DFF09-37E9-4BCD-8A48-245A827C9C8C}" presName="textRect" presStyleLbl="revTx" presStyleIdx="0" presStyleCnt="2">
        <dgm:presLayoutVars>
          <dgm:chMax val="1"/>
          <dgm:chPref val="1"/>
        </dgm:presLayoutVars>
      </dgm:prSet>
      <dgm:spPr/>
    </dgm:pt>
    <dgm:pt modelId="{7C0F24C1-D4FC-4B1F-A8C0-BD01478D68DB}" type="pres">
      <dgm:prSet presAssocID="{863A4646-229B-4EC9-8FB6-8ADF03F16ED7}" presName="sibTrans" presStyleLbl="sibTrans2D1" presStyleIdx="0" presStyleCnt="0"/>
      <dgm:spPr/>
    </dgm:pt>
    <dgm:pt modelId="{DE608ED6-2D57-4EA1-9286-D42225BD4058}" type="pres">
      <dgm:prSet presAssocID="{F2C3A28E-6BCB-4665-9947-29AEE31D8412}" presName="compNode" presStyleCnt="0"/>
      <dgm:spPr/>
    </dgm:pt>
    <dgm:pt modelId="{E734084A-A827-4AB0-8034-D28FACE8409F}" type="pres">
      <dgm:prSet presAssocID="{F2C3A28E-6BCB-4665-9947-29AEE31D8412}" presName="iconBgRect" presStyleLbl="bgShp" presStyleIdx="1" presStyleCnt="2"/>
      <dgm:spPr/>
    </dgm:pt>
    <dgm:pt modelId="{6217E6E8-4E8B-47ED-8D15-81F9E8E0CAB4}" type="pres">
      <dgm:prSet presAssocID="{F2C3A28E-6BCB-4665-9947-29AEE31D8412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encil"/>
        </a:ext>
      </dgm:extLst>
    </dgm:pt>
    <dgm:pt modelId="{5C0C575F-14C8-48E9-8CFC-64392BB821E8}" type="pres">
      <dgm:prSet presAssocID="{F2C3A28E-6BCB-4665-9947-29AEE31D8412}" presName="spaceRect" presStyleCnt="0"/>
      <dgm:spPr/>
    </dgm:pt>
    <dgm:pt modelId="{6A4EA528-15FE-47BA-954C-1764227B816F}" type="pres">
      <dgm:prSet presAssocID="{F2C3A28E-6BCB-4665-9947-29AEE31D8412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879BDD33-B70B-495F-9337-8C1200FF8684}" type="presOf" srcId="{863A4646-229B-4EC9-8FB6-8ADF03F16ED7}" destId="{7C0F24C1-D4FC-4B1F-A8C0-BD01478D68DB}" srcOrd="0" destOrd="0" presId="urn:microsoft.com/office/officeart/2018/2/layout/IconCircleList"/>
    <dgm:cxn modelId="{DCF0174F-8F7D-4FA2-A134-C181E7258ACE}" type="presOf" srcId="{D95DFF09-37E9-4BCD-8A48-245A827C9C8C}" destId="{5503AEE7-60FA-4FDC-9727-A14D460DC933}" srcOrd="0" destOrd="0" presId="urn:microsoft.com/office/officeart/2018/2/layout/IconCircleList"/>
    <dgm:cxn modelId="{027CA072-BBB9-4246-9065-3E8F8C7FDCAA}" type="presOf" srcId="{F2C3A28E-6BCB-4665-9947-29AEE31D8412}" destId="{6A4EA528-15FE-47BA-954C-1764227B816F}" srcOrd="0" destOrd="0" presId="urn:microsoft.com/office/officeart/2018/2/layout/IconCircleList"/>
    <dgm:cxn modelId="{02C15FA8-5B20-4ECC-8E73-042119982D97}" srcId="{BB271964-4022-4C9E-ABC2-C790AD5CA340}" destId="{D95DFF09-37E9-4BCD-8A48-245A827C9C8C}" srcOrd="0" destOrd="0" parTransId="{ED2ABE16-15FB-4211-A732-FC09D388148A}" sibTransId="{863A4646-229B-4EC9-8FB6-8ADF03F16ED7}"/>
    <dgm:cxn modelId="{C5B0B5AA-ACCD-4C06-8794-633D53FE6F44}" type="presOf" srcId="{BB271964-4022-4C9E-ABC2-C790AD5CA340}" destId="{B4454616-6810-44A0-AA2A-54C3740CAB08}" srcOrd="0" destOrd="0" presId="urn:microsoft.com/office/officeart/2018/2/layout/IconCircleList"/>
    <dgm:cxn modelId="{C91037E1-7858-4679-92DE-B502F061F6E1}" srcId="{BB271964-4022-4C9E-ABC2-C790AD5CA340}" destId="{F2C3A28E-6BCB-4665-9947-29AEE31D8412}" srcOrd="1" destOrd="0" parTransId="{D89D2BF3-D05A-4DFD-9156-928017909228}" sibTransId="{7D752E08-4CC4-484B-A992-C65976B9DDD9}"/>
    <dgm:cxn modelId="{14F92990-8517-4E78-8130-AFD75E265561}" type="presParOf" srcId="{B4454616-6810-44A0-AA2A-54C3740CAB08}" destId="{4181D1D1-AE18-4FC1-87DF-51DD33A60CC6}" srcOrd="0" destOrd="0" presId="urn:microsoft.com/office/officeart/2018/2/layout/IconCircleList"/>
    <dgm:cxn modelId="{74802B66-C166-4C88-BC1C-CF404B41952A}" type="presParOf" srcId="{4181D1D1-AE18-4FC1-87DF-51DD33A60CC6}" destId="{295E3164-4447-40BA-ABE2-09654D99FC30}" srcOrd="0" destOrd="0" presId="urn:microsoft.com/office/officeart/2018/2/layout/IconCircleList"/>
    <dgm:cxn modelId="{67E835F8-C12F-49B5-87A6-8981DA0BD45A}" type="presParOf" srcId="{295E3164-4447-40BA-ABE2-09654D99FC30}" destId="{0FA8C16E-DD3F-4680-8BF2-4539B6C36B08}" srcOrd="0" destOrd="0" presId="urn:microsoft.com/office/officeart/2018/2/layout/IconCircleList"/>
    <dgm:cxn modelId="{E0671425-937F-465C-95A8-33B9012D0385}" type="presParOf" srcId="{295E3164-4447-40BA-ABE2-09654D99FC30}" destId="{3305F072-83C0-4D7E-865F-E12CA5E7120F}" srcOrd="1" destOrd="0" presId="urn:microsoft.com/office/officeart/2018/2/layout/IconCircleList"/>
    <dgm:cxn modelId="{6D5DDE7E-6125-46F5-8AD3-F3DC50234F0E}" type="presParOf" srcId="{295E3164-4447-40BA-ABE2-09654D99FC30}" destId="{6229C04A-CC99-4437-8229-36D933F0B50C}" srcOrd="2" destOrd="0" presId="urn:microsoft.com/office/officeart/2018/2/layout/IconCircleList"/>
    <dgm:cxn modelId="{F97B25B7-3F3F-4616-A435-0A76DB6FEB26}" type="presParOf" srcId="{295E3164-4447-40BA-ABE2-09654D99FC30}" destId="{5503AEE7-60FA-4FDC-9727-A14D460DC933}" srcOrd="3" destOrd="0" presId="urn:microsoft.com/office/officeart/2018/2/layout/IconCircleList"/>
    <dgm:cxn modelId="{61406657-509E-4077-8773-65C02E9E7DF3}" type="presParOf" srcId="{4181D1D1-AE18-4FC1-87DF-51DD33A60CC6}" destId="{7C0F24C1-D4FC-4B1F-A8C0-BD01478D68DB}" srcOrd="1" destOrd="0" presId="urn:microsoft.com/office/officeart/2018/2/layout/IconCircleList"/>
    <dgm:cxn modelId="{922F3A48-00BA-4AF7-9F2B-A354A3019AF2}" type="presParOf" srcId="{4181D1D1-AE18-4FC1-87DF-51DD33A60CC6}" destId="{DE608ED6-2D57-4EA1-9286-D42225BD4058}" srcOrd="2" destOrd="0" presId="urn:microsoft.com/office/officeart/2018/2/layout/IconCircleList"/>
    <dgm:cxn modelId="{F5A417FD-C773-4220-97C0-5A4BBB8B2B2B}" type="presParOf" srcId="{DE608ED6-2D57-4EA1-9286-D42225BD4058}" destId="{E734084A-A827-4AB0-8034-D28FACE8409F}" srcOrd="0" destOrd="0" presId="urn:microsoft.com/office/officeart/2018/2/layout/IconCircleList"/>
    <dgm:cxn modelId="{96472C55-63A8-4E11-B92F-E17E94423164}" type="presParOf" srcId="{DE608ED6-2D57-4EA1-9286-D42225BD4058}" destId="{6217E6E8-4E8B-47ED-8D15-81F9E8E0CAB4}" srcOrd="1" destOrd="0" presId="urn:microsoft.com/office/officeart/2018/2/layout/IconCircleList"/>
    <dgm:cxn modelId="{3FF2F256-AC6D-4C80-971A-051BE2CC952A}" type="presParOf" srcId="{DE608ED6-2D57-4EA1-9286-D42225BD4058}" destId="{5C0C575F-14C8-48E9-8CFC-64392BB821E8}" srcOrd="2" destOrd="0" presId="urn:microsoft.com/office/officeart/2018/2/layout/IconCircleList"/>
    <dgm:cxn modelId="{8EDB24B7-8C48-4DD8-838E-CB561825EEFB}" type="presParOf" srcId="{DE608ED6-2D57-4EA1-9286-D42225BD4058}" destId="{6A4EA528-15FE-47BA-954C-1764227B816F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6679C13-2EC1-4ADE-9992-0B1E0EE9F226}" type="doc">
      <dgm:prSet loTypeId="urn:microsoft.com/office/officeart/2005/8/layout/vProcess5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6A3506A-26F3-4C11-874B-8AD0DD57D591}">
      <dgm:prSet/>
      <dgm:spPr/>
      <dgm:t>
        <a:bodyPr/>
        <a:lstStyle/>
        <a:p>
          <a:pPr>
            <a:defRPr cap="all"/>
          </a:pPr>
          <a:r>
            <a:rPr lang="en-US"/>
            <a:t>Certified by a Montana PE</a:t>
          </a:r>
        </a:p>
      </dgm:t>
    </dgm:pt>
    <dgm:pt modelId="{D9E77E52-4FB3-4FAC-B411-F2841C3A7248}" type="parTrans" cxnId="{A70197B1-9503-4370-97CC-5C99B892A60D}">
      <dgm:prSet/>
      <dgm:spPr/>
      <dgm:t>
        <a:bodyPr/>
        <a:lstStyle/>
        <a:p>
          <a:endParaRPr lang="en-US"/>
        </a:p>
      </dgm:t>
    </dgm:pt>
    <dgm:pt modelId="{9FBD5E56-85B2-4CB0-83C2-DCE5C0BACE2A}" type="sibTrans" cxnId="{A70197B1-9503-4370-97CC-5C99B892A60D}">
      <dgm:prSet/>
      <dgm:spPr/>
      <dgm:t>
        <a:bodyPr/>
        <a:lstStyle/>
        <a:p>
          <a:endParaRPr lang="en-US"/>
        </a:p>
      </dgm:t>
    </dgm:pt>
    <dgm:pt modelId="{73158342-727E-40FE-9383-77B7C402CB81}">
      <dgm:prSet/>
      <dgm:spPr/>
      <dgm:t>
        <a:bodyPr/>
        <a:lstStyle/>
        <a:p>
          <a:pPr>
            <a:defRPr cap="all"/>
          </a:pPr>
          <a:r>
            <a:rPr lang="en-US" dirty="0"/>
            <a:t>Montana Certified Professional Engineer</a:t>
          </a:r>
        </a:p>
      </dgm:t>
    </dgm:pt>
    <dgm:pt modelId="{8954E646-1872-4B8F-A26F-79FF2473EC39}" type="parTrans" cxnId="{0179EFA2-9192-4B60-B53A-69C0D10CEA8F}">
      <dgm:prSet/>
      <dgm:spPr/>
      <dgm:t>
        <a:bodyPr/>
        <a:lstStyle/>
        <a:p>
          <a:endParaRPr lang="en-US"/>
        </a:p>
      </dgm:t>
    </dgm:pt>
    <dgm:pt modelId="{1A4F7D06-A915-4DA7-A79C-B067EF20D0BE}" type="sibTrans" cxnId="{0179EFA2-9192-4B60-B53A-69C0D10CEA8F}">
      <dgm:prSet/>
      <dgm:spPr/>
      <dgm:t>
        <a:bodyPr/>
        <a:lstStyle/>
        <a:p>
          <a:endParaRPr lang="en-US"/>
        </a:p>
      </dgm:t>
    </dgm:pt>
    <dgm:pt modelId="{A509EB38-389F-4A0A-AF81-1BCC2C03EE6E}">
      <dgm:prSet/>
      <dgm:spPr/>
      <dgm:t>
        <a:bodyPr/>
        <a:lstStyle/>
        <a:p>
          <a:pPr>
            <a:defRPr cap="all"/>
          </a:pPr>
          <a:r>
            <a:rPr lang="en-US" dirty="0"/>
            <a:t>“This individual will be the primary contact for any technical questions regarding the allocation application document and supporting documentation. “</a:t>
          </a:r>
        </a:p>
      </dgm:t>
    </dgm:pt>
    <dgm:pt modelId="{709BD0E6-1A5E-4F07-95EC-C7CE7A08F3FF}" type="parTrans" cxnId="{5ACADA2A-88FA-49F1-9E0A-A065CFC6DB42}">
      <dgm:prSet/>
      <dgm:spPr/>
      <dgm:t>
        <a:bodyPr/>
        <a:lstStyle/>
        <a:p>
          <a:endParaRPr lang="en-US"/>
        </a:p>
      </dgm:t>
    </dgm:pt>
    <dgm:pt modelId="{5615E982-E3A0-497A-A053-3BB0CE9E618D}" type="sibTrans" cxnId="{5ACADA2A-88FA-49F1-9E0A-A065CFC6DB42}">
      <dgm:prSet/>
      <dgm:spPr/>
      <dgm:t>
        <a:bodyPr/>
        <a:lstStyle/>
        <a:p>
          <a:endParaRPr lang="en-US"/>
        </a:p>
      </dgm:t>
    </dgm:pt>
    <dgm:pt modelId="{730610C7-9B40-4503-86D3-B56CB0F4CDA6}">
      <dgm:prSet/>
      <dgm:spPr/>
      <dgm:t>
        <a:bodyPr/>
        <a:lstStyle/>
        <a:p>
          <a:pPr>
            <a:defRPr cap="all"/>
          </a:pPr>
          <a:r>
            <a:rPr lang="en-US" dirty="0"/>
            <a:t>Name, Title, Telephone Number, Email Address </a:t>
          </a:r>
        </a:p>
      </dgm:t>
    </dgm:pt>
    <dgm:pt modelId="{CCE2A4BE-E9DA-4EEB-A533-55BFCFF64566}" type="parTrans" cxnId="{565B53ED-332D-4453-AE9D-B3303CA54A25}">
      <dgm:prSet/>
      <dgm:spPr/>
      <dgm:t>
        <a:bodyPr/>
        <a:lstStyle/>
        <a:p>
          <a:endParaRPr lang="en-US"/>
        </a:p>
      </dgm:t>
    </dgm:pt>
    <dgm:pt modelId="{1FF12794-63C5-45B2-8727-CCB3C55B4580}" type="sibTrans" cxnId="{565B53ED-332D-4453-AE9D-B3303CA54A25}">
      <dgm:prSet/>
      <dgm:spPr/>
      <dgm:t>
        <a:bodyPr/>
        <a:lstStyle/>
        <a:p>
          <a:endParaRPr lang="en-US"/>
        </a:p>
      </dgm:t>
    </dgm:pt>
    <dgm:pt modelId="{DE7253DF-2839-45B4-B97B-127939CFFFBA}" type="pres">
      <dgm:prSet presAssocID="{16679C13-2EC1-4ADE-9992-0B1E0EE9F226}" presName="outerComposite" presStyleCnt="0">
        <dgm:presLayoutVars>
          <dgm:chMax val="5"/>
          <dgm:dir/>
          <dgm:resizeHandles val="exact"/>
        </dgm:presLayoutVars>
      </dgm:prSet>
      <dgm:spPr/>
    </dgm:pt>
    <dgm:pt modelId="{23A66690-CE65-40B4-BB8B-C20CB13D47D3}" type="pres">
      <dgm:prSet presAssocID="{16679C13-2EC1-4ADE-9992-0B1E0EE9F226}" presName="dummyMaxCanvas" presStyleCnt="0">
        <dgm:presLayoutVars/>
      </dgm:prSet>
      <dgm:spPr/>
    </dgm:pt>
    <dgm:pt modelId="{014678B5-EAD0-496A-8C7F-96B96004EAF8}" type="pres">
      <dgm:prSet presAssocID="{16679C13-2EC1-4ADE-9992-0B1E0EE9F226}" presName="ThreeNodes_1" presStyleLbl="node1" presStyleIdx="0" presStyleCnt="3">
        <dgm:presLayoutVars>
          <dgm:bulletEnabled val="1"/>
        </dgm:presLayoutVars>
      </dgm:prSet>
      <dgm:spPr/>
    </dgm:pt>
    <dgm:pt modelId="{CC00FA03-8A4D-4857-B378-5B734B9D0050}" type="pres">
      <dgm:prSet presAssocID="{16679C13-2EC1-4ADE-9992-0B1E0EE9F226}" presName="ThreeNodes_2" presStyleLbl="node1" presStyleIdx="1" presStyleCnt="3">
        <dgm:presLayoutVars>
          <dgm:bulletEnabled val="1"/>
        </dgm:presLayoutVars>
      </dgm:prSet>
      <dgm:spPr/>
    </dgm:pt>
    <dgm:pt modelId="{D339164A-E6B7-4C82-AB80-18E04F89908A}" type="pres">
      <dgm:prSet presAssocID="{16679C13-2EC1-4ADE-9992-0B1E0EE9F226}" presName="ThreeNodes_3" presStyleLbl="node1" presStyleIdx="2" presStyleCnt="3">
        <dgm:presLayoutVars>
          <dgm:bulletEnabled val="1"/>
        </dgm:presLayoutVars>
      </dgm:prSet>
      <dgm:spPr/>
    </dgm:pt>
    <dgm:pt modelId="{75ACBE30-CC75-4D1E-9E45-BAFDD2D13617}" type="pres">
      <dgm:prSet presAssocID="{16679C13-2EC1-4ADE-9992-0B1E0EE9F226}" presName="ThreeConn_1-2" presStyleLbl="fgAccFollowNode1" presStyleIdx="0" presStyleCnt="2">
        <dgm:presLayoutVars>
          <dgm:bulletEnabled val="1"/>
        </dgm:presLayoutVars>
      </dgm:prSet>
      <dgm:spPr/>
    </dgm:pt>
    <dgm:pt modelId="{7BD14DAE-FBD0-4B05-A689-F3B9D8334459}" type="pres">
      <dgm:prSet presAssocID="{16679C13-2EC1-4ADE-9992-0B1E0EE9F226}" presName="ThreeConn_2-3" presStyleLbl="fgAccFollowNode1" presStyleIdx="1" presStyleCnt="2">
        <dgm:presLayoutVars>
          <dgm:bulletEnabled val="1"/>
        </dgm:presLayoutVars>
      </dgm:prSet>
      <dgm:spPr/>
    </dgm:pt>
    <dgm:pt modelId="{C2D00C0E-CA7E-4795-99AB-D4FD8DBB5E56}" type="pres">
      <dgm:prSet presAssocID="{16679C13-2EC1-4ADE-9992-0B1E0EE9F226}" presName="ThreeNodes_1_text" presStyleLbl="node1" presStyleIdx="2" presStyleCnt="3">
        <dgm:presLayoutVars>
          <dgm:bulletEnabled val="1"/>
        </dgm:presLayoutVars>
      </dgm:prSet>
      <dgm:spPr/>
    </dgm:pt>
    <dgm:pt modelId="{E76D60F1-1A08-414C-B307-5D4A2BC47E40}" type="pres">
      <dgm:prSet presAssocID="{16679C13-2EC1-4ADE-9992-0B1E0EE9F226}" presName="ThreeNodes_2_text" presStyleLbl="node1" presStyleIdx="2" presStyleCnt="3">
        <dgm:presLayoutVars>
          <dgm:bulletEnabled val="1"/>
        </dgm:presLayoutVars>
      </dgm:prSet>
      <dgm:spPr/>
    </dgm:pt>
    <dgm:pt modelId="{C04628AC-A1F7-4E9D-B962-2F427861314A}" type="pres">
      <dgm:prSet presAssocID="{16679C13-2EC1-4ADE-9992-0B1E0EE9F226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6534541A-290F-4232-83BE-C88747CC4B69}" type="presOf" srcId="{1A4F7D06-A915-4DA7-A79C-B067EF20D0BE}" destId="{7BD14DAE-FBD0-4B05-A689-F3B9D8334459}" srcOrd="0" destOrd="0" presId="urn:microsoft.com/office/officeart/2005/8/layout/vProcess5"/>
    <dgm:cxn modelId="{5ACADA2A-88FA-49F1-9E0A-A065CFC6DB42}" srcId="{16679C13-2EC1-4ADE-9992-0B1E0EE9F226}" destId="{A509EB38-389F-4A0A-AF81-1BCC2C03EE6E}" srcOrd="2" destOrd="0" parTransId="{709BD0E6-1A5E-4F07-95EC-C7CE7A08F3FF}" sibTransId="{5615E982-E3A0-497A-A053-3BB0CE9E618D}"/>
    <dgm:cxn modelId="{6290263C-75FB-4129-B0DC-EE9DB8F5B286}" type="presOf" srcId="{36A3506A-26F3-4C11-874B-8AD0DD57D591}" destId="{014678B5-EAD0-496A-8C7F-96B96004EAF8}" srcOrd="0" destOrd="0" presId="urn:microsoft.com/office/officeart/2005/8/layout/vProcess5"/>
    <dgm:cxn modelId="{0DFD683C-03E9-460F-864F-27588775E699}" type="presOf" srcId="{73158342-727E-40FE-9383-77B7C402CB81}" destId="{E76D60F1-1A08-414C-B307-5D4A2BC47E40}" srcOrd="1" destOrd="0" presId="urn:microsoft.com/office/officeart/2005/8/layout/vProcess5"/>
    <dgm:cxn modelId="{A19EBF4A-2340-4D44-8896-E52BE4F57F06}" type="presOf" srcId="{36A3506A-26F3-4C11-874B-8AD0DD57D591}" destId="{C2D00C0E-CA7E-4795-99AB-D4FD8DBB5E56}" srcOrd="1" destOrd="0" presId="urn:microsoft.com/office/officeart/2005/8/layout/vProcess5"/>
    <dgm:cxn modelId="{DD92806F-7B60-4E95-969B-12D9D98DAE55}" type="presOf" srcId="{A509EB38-389F-4A0A-AF81-1BCC2C03EE6E}" destId="{D339164A-E6B7-4C82-AB80-18E04F89908A}" srcOrd="0" destOrd="0" presId="urn:microsoft.com/office/officeart/2005/8/layout/vProcess5"/>
    <dgm:cxn modelId="{0DFC1950-D3D6-45DD-B619-F3FA54779BE3}" type="presOf" srcId="{16679C13-2EC1-4ADE-9992-0B1E0EE9F226}" destId="{DE7253DF-2839-45B4-B97B-127939CFFFBA}" srcOrd="0" destOrd="0" presId="urn:microsoft.com/office/officeart/2005/8/layout/vProcess5"/>
    <dgm:cxn modelId="{8530418E-9920-4149-A9AC-5CEF65A29DF6}" type="presOf" srcId="{A509EB38-389F-4A0A-AF81-1BCC2C03EE6E}" destId="{C04628AC-A1F7-4E9D-B962-2F427861314A}" srcOrd="1" destOrd="0" presId="urn:microsoft.com/office/officeart/2005/8/layout/vProcess5"/>
    <dgm:cxn modelId="{38DA9094-FC8C-45F7-A574-B3BCE8AC048A}" type="presOf" srcId="{9FBD5E56-85B2-4CB0-83C2-DCE5C0BACE2A}" destId="{75ACBE30-CC75-4D1E-9E45-BAFDD2D13617}" srcOrd="0" destOrd="0" presId="urn:microsoft.com/office/officeart/2005/8/layout/vProcess5"/>
    <dgm:cxn modelId="{0179EFA2-9192-4B60-B53A-69C0D10CEA8F}" srcId="{16679C13-2EC1-4ADE-9992-0B1E0EE9F226}" destId="{73158342-727E-40FE-9383-77B7C402CB81}" srcOrd="1" destOrd="0" parTransId="{8954E646-1872-4B8F-A26F-79FF2473EC39}" sibTransId="{1A4F7D06-A915-4DA7-A79C-B067EF20D0BE}"/>
    <dgm:cxn modelId="{A70197B1-9503-4370-97CC-5C99B892A60D}" srcId="{16679C13-2EC1-4ADE-9992-0B1E0EE9F226}" destId="{36A3506A-26F3-4C11-874B-8AD0DD57D591}" srcOrd="0" destOrd="0" parTransId="{D9E77E52-4FB3-4FAC-B411-F2841C3A7248}" sibTransId="{9FBD5E56-85B2-4CB0-83C2-DCE5C0BACE2A}"/>
    <dgm:cxn modelId="{CAA69CE5-526C-44F0-976F-6E614B2446AC}" type="presOf" srcId="{73158342-727E-40FE-9383-77B7C402CB81}" destId="{CC00FA03-8A4D-4857-B378-5B734B9D0050}" srcOrd="0" destOrd="0" presId="urn:microsoft.com/office/officeart/2005/8/layout/vProcess5"/>
    <dgm:cxn modelId="{EEAE1BE8-6DD9-4393-99E4-4EE4D96B5243}" type="presOf" srcId="{730610C7-9B40-4503-86D3-B56CB0F4CDA6}" destId="{CC00FA03-8A4D-4857-B378-5B734B9D0050}" srcOrd="0" destOrd="1" presId="urn:microsoft.com/office/officeart/2005/8/layout/vProcess5"/>
    <dgm:cxn modelId="{565B53ED-332D-4453-AE9D-B3303CA54A25}" srcId="{73158342-727E-40FE-9383-77B7C402CB81}" destId="{730610C7-9B40-4503-86D3-B56CB0F4CDA6}" srcOrd="0" destOrd="0" parTransId="{CCE2A4BE-E9DA-4EEB-A533-55BFCFF64566}" sibTransId="{1FF12794-63C5-45B2-8727-CCB3C55B4580}"/>
    <dgm:cxn modelId="{4859C8F9-2EE7-45E4-98E2-BDCE36F02A55}" type="presOf" srcId="{730610C7-9B40-4503-86D3-B56CB0F4CDA6}" destId="{E76D60F1-1A08-414C-B307-5D4A2BC47E40}" srcOrd="1" destOrd="1" presId="urn:microsoft.com/office/officeart/2005/8/layout/vProcess5"/>
    <dgm:cxn modelId="{C6815BE4-0D09-4FB7-B2AB-A730D664F61C}" type="presParOf" srcId="{DE7253DF-2839-45B4-B97B-127939CFFFBA}" destId="{23A66690-CE65-40B4-BB8B-C20CB13D47D3}" srcOrd="0" destOrd="0" presId="urn:microsoft.com/office/officeart/2005/8/layout/vProcess5"/>
    <dgm:cxn modelId="{8305BFC8-3291-4CB5-A870-DCAD0C4E6E3B}" type="presParOf" srcId="{DE7253DF-2839-45B4-B97B-127939CFFFBA}" destId="{014678B5-EAD0-496A-8C7F-96B96004EAF8}" srcOrd="1" destOrd="0" presId="urn:microsoft.com/office/officeart/2005/8/layout/vProcess5"/>
    <dgm:cxn modelId="{3F439F04-C08F-4FFB-AAAE-2499236E7CCF}" type="presParOf" srcId="{DE7253DF-2839-45B4-B97B-127939CFFFBA}" destId="{CC00FA03-8A4D-4857-B378-5B734B9D0050}" srcOrd="2" destOrd="0" presId="urn:microsoft.com/office/officeart/2005/8/layout/vProcess5"/>
    <dgm:cxn modelId="{5688A6F6-3A69-4E6D-8444-0D9206D82F67}" type="presParOf" srcId="{DE7253DF-2839-45B4-B97B-127939CFFFBA}" destId="{D339164A-E6B7-4C82-AB80-18E04F89908A}" srcOrd="3" destOrd="0" presId="urn:microsoft.com/office/officeart/2005/8/layout/vProcess5"/>
    <dgm:cxn modelId="{4C4554FC-FD27-4799-959E-76C7E64E21C9}" type="presParOf" srcId="{DE7253DF-2839-45B4-B97B-127939CFFFBA}" destId="{75ACBE30-CC75-4D1E-9E45-BAFDD2D13617}" srcOrd="4" destOrd="0" presId="urn:microsoft.com/office/officeart/2005/8/layout/vProcess5"/>
    <dgm:cxn modelId="{48200D81-A3E2-4F22-A901-FD4039CB216C}" type="presParOf" srcId="{DE7253DF-2839-45B4-B97B-127939CFFFBA}" destId="{7BD14DAE-FBD0-4B05-A689-F3B9D8334459}" srcOrd="5" destOrd="0" presId="urn:microsoft.com/office/officeart/2005/8/layout/vProcess5"/>
    <dgm:cxn modelId="{7608AEF8-488B-42B2-8AAA-33CA23194D67}" type="presParOf" srcId="{DE7253DF-2839-45B4-B97B-127939CFFFBA}" destId="{C2D00C0E-CA7E-4795-99AB-D4FD8DBB5E56}" srcOrd="6" destOrd="0" presId="urn:microsoft.com/office/officeart/2005/8/layout/vProcess5"/>
    <dgm:cxn modelId="{DAFE7D52-ADE7-4D9B-9DA3-1E4969277F33}" type="presParOf" srcId="{DE7253DF-2839-45B4-B97B-127939CFFFBA}" destId="{E76D60F1-1A08-414C-B307-5D4A2BC47E40}" srcOrd="7" destOrd="0" presId="urn:microsoft.com/office/officeart/2005/8/layout/vProcess5"/>
    <dgm:cxn modelId="{D07A6ADA-D631-471B-8812-C982A5AED1F0}" type="presParOf" srcId="{DE7253DF-2839-45B4-B97B-127939CFFFBA}" destId="{C04628AC-A1F7-4E9D-B962-2F427861314A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57C0884-1529-4479-83D4-981160D9E007}" type="doc">
      <dgm:prSet loTypeId="urn:microsoft.com/office/officeart/2018/5/layout/IconLeafLabelList" loCatId="icon" qsTypeId="urn:microsoft.com/office/officeart/2005/8/quickstyle/simple1" qsCatId="simple" csTypeId="urn:microsoft.com/office/officeart/2018/5/colors/Iconchunking_coloredtext_colorful1" csCatId="colorful" phldr="1"/>
      <dgm:spPr/>
      <dgm:t>
        <a:bodyPr/>
        <a:lstStyle/>
        <a:p>
          <a:endParaRPr lang="en-US"/>
        </a:p>
      </dgm:t>
    </dgm:pt>
    <dgm:pt modelId="{8DA90286-31D7-4996-BD20-A3F4E65B6663}">
      <dgm:prSet/>
      <dgm:spPr/>
      <dgm:t>
        <a:bodyPr/>
        <a:lstStyle/>
        <a:p>
          <a:pPr>
            <a:defRPr cap="all"/>
          </a:pPr>
          <a:r>
            <a:rPr lang="en-US"/>
            <a:t>Material and Equipment Specifications</a:t>
          </a:r>
        </a:p>
      </dgm:t>
    </dgm:pt>
    <dgm:pt modelId="{2E06C481-DE49-4D4A-A5AA-C73BBB02F4D3}" type="parTrans" cxnId="{4D235AAC-E800-4AE6-AF84-1FE19743F6D7}">
      <dgm:prSet/>
      <dgm:spPr/>
      <dgm:t>
        <a:bodyPr/>
        <a:lstStyle/>
        <a:p>
          <a:endParaRPr lang="en-US"/>
        </a:p>
      </dgm:t>
    </dgm:pt>
    <dgm:pt modelId="{99B2B67F-D082-44E4-93ED-B4BB7A8C91D5}" type="sibTrans" cxnId="{4D235AAC-E800-4AE6-AF84-1FE19743F6D7}">
      <dgm:prSet/>
      <dgm:spPr/>
      <dgm:t>
        <a:bodyPr/>
        <a:lstStyle/>
        <a:p>
          <a:endParaRPr lang="en-US"/>
        </a:p>
      </dgm:t>
    </dgm:pt>
    <dgm:pt modelId="{A8A661BF-5352-4984-92FA-240AD0308A52}">
      <dgm:prSet/>
      <dgm:spPr/>
      <dgm:t>
        <a:bodyPr/>
        <a:lstStyle/>
        <a:p>
          <a:pPr>
            <a:defRPr cap="all"/>
          </a:pPr>
          <a:r>
            <a:rPr lang="en-US"/>
            <a:t>Logical Diagrams</a:t>
          </a:r>
        </a:p>
      </dgm:t>
    </dgm:pt>
    <dgm:pt modelId="{20124330-2197-4909-BE44-5F08839CBCE1}" type="parTrans" cxnId="{1926B5FC-CB3B-458D-8728-C5242AACB293}">
      <dgm:prSet/>
      <dgm:spPr/>
      <dgm:t>
        <a:bodyPr/>
        <a:lstStyle/>
        <a:p>
          <a:endParaRPr lang="en-US"/>
        </a:p>
      </dgm:t>
    </dgm:pt>
    <dgm:pt modelId="{F5432B83-4E87-479A-9533-03B043A6FC6F}" type="sibTrans" cxnId="{1926B5FC-CB3B-458D-8728-C5242AACB293}">
      <dgm:prSet/>
      <dgm:spPr/>
      <dgm:t>
        <a:bodyPr/>
        <a:lstStyle/>
        <a:p>
          <a:endParaRPr lang="en-US"/>
        </a:p>
      </dgm:t>
    </dgm:pt>
    <dgm:pt modelId="{FB5ECD04-6FA7-4ED6-880A-B9866656EBEB}">
      <dgm:prSet/>
      <dgm:spPr/>
      <dgm:t>
        <a:bodyPr/>
        <a:lstStyle/>
        <a:p>
          <a:pPr>
            <a:defRPr cap="all"/>
          </a:pPr>
          <a:r>
            <a:rPr lang="en-US"/>
            <a:t>Mapping</a:t>
          </a:r>
        </a:p>
      </dgm:t>
    </dgm:pt>
    <dgm:pt modelId="{B4755CEF-765B-40E8-BB77-C3914B463060}" type="parTrans" cxnId="{814242AB-7BC0-47AC-BAB5-5DB2E519A555}">
      <dgm:prSet/>
      <dgm:spPr/>
      <dgm:t>
        <a:bodyPr/>
        <a:lstStyle/>
        <a:p>
          <a:endParaRPr lang="en-US"/>
        </a:p>
      </dgm:t>
    </dgm:pt>
    <dgm:pt modelId="{9B6534BF-33A9-49AB-BD71-E702190C1275}" type="sibTrans" cxnId="{814242AB-7BC0-47AC-BAB5-5DB2E519A555}">
      <dgm:prSet/>
      <dgm:spPr/>
      <dgm:t>
        <a:bodyPr/>
        <a:lstStyle/>
        <a:p>
          <a:endParaRPr lang="en-US"/>
        </a:p>
      </dgm:t>
    </dgm:pt>
    <dgm:pt modelId="{20002698-0CBC-442A-AB9F-7D8F81018E35}" type="pres">
      <dgm:prSet presAssocID="{B57C0884-1529-4479-83D4-981160D9E007}" presName="root" presStyleCnt="0">
        <dgm:presLayoutVars>
          <dgm:dir/>
          <dgm:resizeHandles val="exact"/>
        </dgm:presLayoutVars>
      </dgm:prSet>
      <dgm:spPr/>
    </dgm:pt>
    <dgm:pt modelId="{136A12C1-CB49-42DD-99BA-9C20B09E8B1F}" type="pres">
      <dgm:prSet presAssocID="{8DA90286-31D7-4996-BD20-A3F4E65B6663}" presName="compNode" presStyleCnt="0"/>
      <dgm:spPr/>
    </dgm:pt>
    <dgm:pt modelId="{55E4DEAC-793B-4799-8F75-C661409276C5}" type="pres">
      <dgm:prSet presAssocID="{8DA90286-31D7-4996-BD20-A3F4E65B6663}" presName="iconBgRect" presStyleLbl="bgShp" presStyleIdx="0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EC52C101-F1F0-4A60-A155-A4B5E79F5815}" type="pres">
      <dgm:prSet presAssocID="{8DA90286-31D7-4996-BD20-A3F4E65B6663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ools"/>
        </a:ext>
      </dgm:extLst>
    </dgm:pt>
    <dgm:pt modelId="{AE91581A-D547-46C0-A54F-081883740DB6}" type="pres">
      <dgm:prSet presAssocID="{8DA90286-31D7-4996-BD20-A3F4E65B6663}" presName="spaceRect" presStyleCnt="0"/>
      <dgm:spPr/>
    </dgm:pt>
    <dgm:pt modelId="{04C9F1DB-D6DE-408B-BED5-CD63616B862A}" type="pres">
      <dgm:prSet presAssocID="{8DA90286-31D7-4996-BD20-A3F4E65B6663}" presName="textRect" presStyleLbl="revTx" presStyleIdx="0" presStyleCnt="3">
        <dgm:presLayoutVars>
          <dgm:chMax val="1"/>
          <dgm:chPref val="1"/>
        </dgm:presLayoutVars>
      </dgm:prSet>
      <dgm:spPr/>
    </dgm:pt>
    <dgm:pt modelId="{48E156FA-36BD-47ED-B4F4-3025EB12C413}" type="pres">
      <dgm:prSet presAssocID="{99B2B67F-D082-44E4-93ED-B4BB7A8C91D5}" presName="sibTrans" presStyleCnt="0"/>
      <dgm:spPr/>
    </dgm:pt>
    <dgm:pt modelId="{E758537C-71C3-4FB8-BD92-37AECF015364}" type="pres">
      <dgm:prSet presAssocID="{A8A661BF-5352-4984-92FA-240AD0308A52}" presName="compNode" presStyleCnt="0"/>
      <dgm:spPr/>
    </dgm:pt>
    <dgm:pt modelId="{3DB007F5-B888-4116-A698-FC59A23B1DBC}" type="pres">
      <dgm:prSet presAssocID="{A8A661BF-5352-4984-92FA-240AD0308A52}" presName="iconBgRect" presStyleLbl="bgShp" presStyleIdx="1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6CEF4D1A-8B9E-4E60-8367-F538F5143E9A}" type="pres">
      <dgm:prSet presAssocID="{A8A661BF-5352-4984-92FA-240AD0308A52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B5875CC5-FD9C-43D4-8835-20F77794A58B}" type="pres">
      <dgm:prSet presAssocID="{A8A661BF-5352-4984-92FA-240AD0308A52}" presName="spaceRect" presStyleCnt="0"/>
      <dgm:spPr/>
    </dgm:pt>
    <dgm:pt modelId="{96394005-17CA-4B2C-93AF-8A7039ECE011}" type="pres">
      <dgm:prSet presAssocID="{A8A661BF-5352-4984-92FA-240AD0308A52}" presName="textRect" presStyleLbl="revTx" presStyleIdx="1" presStyleCnt="3">
        <dgm:presLayoutVars>
          <dgm:chMax val="1"/>
          <dgm:chPref val="1"/>
        </dgm:presLayoutVars>
      </dgm:prSet>
      <dgm:spPr/>
    </dgm:pt>
    <dgm:pt modelId="{A9BB8769-8A97-4D87-AB96-432E3F177EAA}" type="pres">
      <dgm:prSet presAssocID="{F5432B83-4E87-479A-9533-03B043A6FC6F}" presName="sibTrans" presStyleCnt="0"/>
      <dgm:spPr/>
    </dgm:pt>
    <dgm:pt modelId="{503AA640-4A94-4AB5-BB8B-14119A2C4595}" type="pres">
      <dgm:prSet presAssocID="{FB5ECD04-6FA7-4ED6-880A-B9866656EBEB}" presName="compNode" presStyleCnt="0"/>
      <dgm:spPr/>
    </dgm:pt>
    <dgm:pt modelId="{717DA27D-BE07-4489-AA62-EDC5827DBF29}" type="pres">
      <dgm:prSet presAssocID="{FB5ECD04-6FA7-4ED6-880A-B9866656EBEB}" presName="iconBgRect" presStyleLbl="bgShp" presStyleIdx="2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E80ACA99-7EB2-459C-AC46-5027D054AF8A}" type="pres">
      <dgm:prSet presAssocID="{FB5ECD04-6FA7-4ED6-880A-B9866656EBEB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p with pin"/>
        </a:ext>
      </dgm:extLst>
    </dgm:pt>
    <dgm:pt modelId="{78694AA3-BBC6-4BD3-AC29-92F00552477F}" type="pres">
      <dgm:prSet presAssocID="{FB5ECD04-6FA7-4ED6-880A-B9866656EBEB}" presName="spaceRect" presStyleCnt="0"/>
      <dgm:spPr/>
    </dgm:pt>
    <dgm:pt modelId="{86D07310-2FB2-4C2A-935C-F91377E5AE43}" type="pres">
      <dgm:prSet presAssocID="{FB5ECD04-6FA7-4ED6-880A-B9866656EBEB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2485B925-ACA8-4564-9177-2B251CBF1023}" type="presOf" srcId="{8DA90286-31D7-4996-BD20-A3F4E65B6663}" destId="{04C9F1DB-D6DE-408B-BED5-CD63616B862A}" srcOrd="0" destOrd="0" presId="urn:microsoft.com/office/officeart/2018/5/layout/IconLeafLabelList"/>
    <dgm:cxn modelId="{D189F54A-34D8-405C-A0B9-514449A7F52A}" type="presOf" srcId="{FB5ECD04-6FA7-4ED6-880A-B9866656EBEB}" destId="{86D07310-2FB2-4C2A-935C-F91377E5AE43}" srcOrd="0" destOrd="0" presId="urn:microsoft.com/office/officeart/2018/5/layout/IconLeafLabelList"/>
    <dgm:cxn modelId="{C1A9B86D-BA63-4A31-B16D-D520EC838745}" type="presOf" srcId="{B57C0884-1529-4479-83D4-981160D9E007}" destId="{20002698-0CBC-442A-AB9F-7D8F81018E35}" srcOrd="0" destOrd="0" presId="urn:microsoft.com/office/officeart/2018/5/layout/IconLeafLabelList"/>
    <dgm:cxn modelId="{00AC1179-CAD6-4859-9DBA-6F82432E5B70}" type="presOf" srcId="{A8A661BF-5352-4984-92FA-240AD0308A52}" destId="{96394005-17CA-4B2C-93AF-8A7039ECE011}" srcOrd="0" destOrd="0" presId="urn:microsoft.com/office/officeart/2018/5/layout/IconLeafLabelList"/>
    <dgm:cxn modelId="{814242AB-7BC0-47AC-BAB5-5DB2E519A555}" srcId="{B57C0884-1529-4479-83D4-981160D9E007}" destId="{FB5ECD04-6FA7-4ED6-880A-B9866656EBEB}" srcOrd="2" destOrd="0" parTransId="{B4755CEF-765B-40E8-BB77-C3914B463060}" sibTransId="{9B6534BF-33A9-49AB-BD71-E702190C1275}"/>
    <dgm:cxn modelId="{4D235AAC-E800-4AE6-AF84-1FE19743F6D7}" srcId="{B57C0884-1529-4479-83D4-981160D9E007}" destId="{8DA90286-31D7-4996-BD20-A3F4E65B6663}" srcOrd="0" destOrd="0" parTransId="{2E06C481-DE49-4D4A-A5AA-C73BBB02F4D3}" sibTransId="{99B2B67F-D082-44E4-93ED-B4BB7A8C91D5}"/>
    <dgm:cxn modelId="{1926B5FC-CB3B-458D-8728-C5242AACB293}" srcId="{B57C0884-1529-4479-83D4-981160D9E007}" destId="{A8A661BF-5352-4984-92FA-240AD0308A52}" srcOrd="1" destOrd="0" parTransId="{20124330-2197-4909-BE44-5F08839CBCE1}" sibTransId="{F5432B83-4E87-479A-9533-03B043A6FC6F}"/>
    <dgm:cxn modelId="{55B4E2F6-BDA7-4540-A474-F3782A1693AD}" type="presParOf" srcId="{20002698-0CBC-442A-AB9F-7D8F81018E35}" destId="{136A12C1-CB49-42DD-99BA-9C20B09E8B1F}" srcOrd="0" destOrd="0" presId="urn:microsoft.com/office/officeart/2018/5/layout/IconLeafLabelList"/>
    <dgm:cxn modelId="{DD1A473E-0F53-4B04-AD4F-0A1713C29938}" type="presParOf" srcId="{136A12C1-CB49-42DD-99BA-9C20B09E8B1F}" destId="{55E4DEAC-793B-4799-8F75-C661409276C5}" srcOrd="0" destOrd="0" presId="urn:microsoft.com/office/officeart/2018/5/layout/IconLeafLabelList"/>
    <dgm:cxn modelId="{1DF79844-2324-4146-981A-C299AC88AEBE}" type="presParOf" srcId="{136A12C1-CB49-42DD-99BA-9C20B09E8B1F}" destId="{EC52C101-F1F0-4A60-A155-A4B5E79F5815}" srcOrd="1" destOrd="0" presId="urn:microsoft.com/office/officeart/2018/5/layout/IconLeafLabelList"/>
    <dgm:cxn modelId="{8DCA5EE3-7F60-4690-99F0-1185CF7F51D2}" type="presParOf" srcId="{136A12C1-CB49-42DD-99BA-9C20B09E8B1F}" destId="{AE91581A-D547-46C0-A54F-081883740DB6}" srcOrd="2" destOrd="0" presId="urn:microsoft.com/office/officeart/2018/5/layout/IconLeafLabelList"/>
    <dgm:cxn modelId="{475BB4AD-8BFF-4E04-8C44-B89BA588BD49}" type="presParOf" srcId="{136A12C1-CB49-42DD-99BA-9C20B09E8B1F}" destId="{04C9F1DB-D6DE-408B-BED5-CD63616B862A}" srcOrd="3" destOrd="0" presId="urn:microsoft.com/office/officeart/2018/5/layout/IconLeafLabelList"/>
    <dgm:cxn modelId="{A329B4A2-B08F-413B-AFA2-D3C9CB192112}" type="presParOf" srcId="{20002698-0CBC-442A-AB9F-7D8F81018E35}" destId="{48E156FA-36BD-47ED-B4F4-3025EB12C413}" srcOrd="1" destOrd="0" presId="urn:microsoft.com/office/officeart/2018/5/layout/IconLeafLabelList"/>
    <dgm:cxn modelId="{3FAB2275-4064-4842-8FBF-07B678EDF59C}" type="presParOf" srcId="{20002698-0CBC-442A-AB9F-7D8F81018E35}" destId="{E758537C-71C3-4FB8-BD92-37AECF015364}" srcOrd="2" destOrd="0" presId="urn:microsoft.com/office/officeart/2018/5/layout/IconLeafLabelList"/>
    <dgm:cxn modelId="{B015ED37-00BD-4858-8BCA-1490E508D4CD}" type="presParOf" srcId="{E758537C-71C3-4FB8-BD92-37AECF015364}" destId="{3DB007F5-B888-4116-A698-FC59A23B1DBC}" srcOrd="0" destOrd="0" presId="urn:microsoft.com/office/officeart/2018/5/layout/IconLeafLabelList"/>
    <dgm:cxn modelId="{4BDB9BA0-CA43-48AB-86B6-DBBCE1EF5D67}" type="presParOf" srcId="{E758537C-71C3-4FB8-BD92-37AECF015364}" destId="{6CEF4D1A-8B9E-4E60-8367-F538F5143E9A}" srcOrd="1" destOrd="0" presId="urn:microsoft.com/office/officeart/2018/5/layout/IconLeafLabelList"/>
    <dgm:cxn modelId="{2515EFCD-15C6-420A-9D87-E4268A9C61FA}" type="presParOf" srcId="{E758537C-71C3-4FB8-BD92-37AECF015364}" destId="{B5875CC5-FD9C-43D4-8835-20F77794A58B}" srcOrd="2" destOrd="0" presId="urn:microsoft.com/office/officeart/2018/5/layout/IconLeafLabelList"/>
    <dgm:cxn modelId="{F3BF65E5-E73C-464D-8E31-BD8FDDF7F7A8}" type="presParOf" srcId="{E758537C-71C3-4FB8-BD92-37AECF015364}" destId="{96394005-17CA-4B2C-93AF-8A7039ECE011}" srcOrd="3" destOrd="0" presId="urn:microsoft.com/office/officeart/2018/5/layout/IconLeafLabelList"/>
    <dgm:cxn modelId="{CA28B978-A15C-478B-8141-EA23AE910370}" type="presParOf" srcId="{20002698-0CBC-442A-AB9F-7D8F81018E35}" destId="{A9BB8769-8A97-4D87-AB96-432E3F177EAA}" srcOrd="3" destOrd="0" presId="urn:microsoft.com/office/officeart/2018/5/layout/IconLeafLabelList"/>
    <dgm:cxn modelId="{45A7F50E-0F96-4BE4-BC99-BB29B3B79D06}" type="presParOf" srcId="{20002698-0CBC-442A-AB9F-7D8F81018E35}" destId="{503AA640-4A94-4AB5-BB8B-14119A2C4595}" srcOrd="4" destOrd="0" presId="urn:microsoft.com/office/officeart/2018/5/layout/IconLeafLabelList"/>
    <dgm:cxn modelId="{ACCDBA94-FD01-4D72-91A1-55E56E3D26AA}" type="presParOf" srcId="{503AA640-4A94-4AB5-BB8B-14119A2C4595}" destId="{717DA27D-BE07-4489-AA62-EDC5827DBF29}" srcOrd="0" destOrd="0" presId="urn:microsoft.com/office/officeart/2018/5/layout/IconLeafLabelList"/>
    <dgm:cxn modelId="{9B301912-6F51-4D1A-A039-5EF4D9394ECE}" type="presParOf" srcId="{503AA640-4A94-4AB5-BB8B-14119A2C4595}" destId="{E80ACA99-7EB2-459C-AC46-5027D054AF8A}" srcOrd="1" destOrd="0" presId="urn:microsoft.com/office/officeart/2018/5/layout/IconLeafLabelList"/>
    <dgm:cxn modelId="{A3C13AD1-605D-4802-A794-C0621955B338}" type="presParOf" srcId="{503AA640-4A94-4AB5-BB8B-14119A2C4595}" destId="{78694AA3-BBC6-4BD3-AC29-92F00552477F}" srcOrd="2" destOrd="0" presId="urn:microsoft.com/office/officeart/2018/5/layout/IconLeafLabelList"/>
    <dgm:cxn modelId="{9DCB3BC8-8EDF-4036-A3A2-FEA4C9DC7F3F}" type="presParOf" srcId="{503AA640-4A94-4AB5-BB8B-14119A2C4595}" destId="{86D07310-2FB2-4C2A-935C-F91377E5AE43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304A6B4-E87D-4B44-B0BF-124F49FBB21E}" type="doc">
      <dgm:prSet loTypeId="urn:microsoft.com/office/officeart/2005/8/layout/list1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4578FAD-C03A-4E74-A2D5-FFE8DE055DAE}">
      <dgm:prSet/>
      <dgm:spPr/>
      <dgm:t>
        <a:bodyPr/>
        <a:lstStyle/>
        <a:p>
          <a:r>
            <a:rPr lang="en-US"/>
            <a:t>Pro Forma Requirements</a:t>
          </a:r>
        </a:p>
      </dgm:t>
    </dgm:pt>
    <dgm:pt modelId="{543EB0BA-918E-485D-9ECF-62CD2CDB98C0}" type="parTrans" cxnId="{A304FFBD-5E9E-4F34-895B-D70D91A87B29}">
      <dgm:prSet/>
      <dgm:spPr/>
      <dgm:t>
        <a:bodyPr/>
        <a:lstStyle/>
        <a:p>
          <a:endParaRPr lang="en-US"/>
        </a:p>
      </dgm:t>
    </dgm:pt>
    <dgm:pt modelId="{4C1522EF-19A1-41AF-8D12-35395B00289F}" type="sibTrans" cxnId="{A304FFBD-5E9E-4F34-895B-D70D91A87B29}">
      <dgm:prSet/>
      <dgm:spPr/>
      <dgm:t>
        <a:bodyPr/>
        <a:lstStyle/>
        <a:p>
          <a:endParaRPr lang="en-US"/>
        </a:p>
      </dgm:t>
    </dgm:pt>
    <dgm:pt modelId="{879A9316-106B-4406-9E13-1A5939DC96E0}">
      <dgm:prSet/>
      <dgm:spPr/>
      <dgm:t>
        <a:bodyPr/>
        <a:lstStyle/>
        <a:p>
          <a:r>
            <a:rPr lang="en-US"/>
            <a:t>Supplemental Information</a:t>
          </a:r>
        </a:p>
      </dgm:t>
    </dgm:pt>
    <dgm:pt modelId="{20148EB3-DB68-45B1-8AD9-17A1587EAAEC}" type="parTrans" cxnId="{33EA2D94-E729-48DE-97E0-550BCDF334AA}">
      <dgm:prSet/>
      <dgm:spPr/>
      <dgm:t>
        <a:bodyPr/>
        <a:lstStyle/>
        <a:p>
          <a:endParaRPr lang="en-US"/>
        </a:p>
      </dgm:t>
    </dgm:pt>
    <dgm:pt modelId="{A0498CB3-DBE3-427D-9525-796BCCA15A25}" type="sibTrans" cxnId="{33EA2D94-E729-48DE-97E0-550BCDF334AA}">
      <dgm:prSet/>
      <dgm:spPr/>
      <dgm:t>
        <a:bodyPr/>
        <a:lstStyle/>
        <a:p>
          <a:endParaRPr lang="en-US"/>
        </a:p>
      </dgm:t>
    </dgm:pt>
    <dgm:pt modelId="{E368FDFD-ED5A-4D4A-89E0-628F372F1B4D}">
      <dgm:prSet/>
      <dgm:spPr/>
      <dgm:t>
        <a:bodyPr/>
        <a:lstStyle/>
        <a:p>
          <a:r>
            <a:rPr lang="en-US"/>
            <a:t>Most recent year of federal tax returns</a:t>
          </a:r>
        </a:p>
      </dgm:t>
    </dgm:pt>
    <dgm:pt modelId="{0ADB779B-8E96-4D61-8C9B-08316728177C}" type="parTrans" cxnId="{A63A4AD2-7686-4ECB-B2CA-0FC4388051F3}">
      <dgm:prSet/>
      <dgm:spPr/>
      <dgm:t>
        <a:bodyPr/>
        <a:lstStyle/>
        <a:p>
          <a:endParaRPr lang="en-US"/>
        </a:p>
      </dgm:t>
    </dgm:pt>
    <dgm:pt modelId="{84B06680-AB7D-4101-922F-9DFB2A90C7B4}" type="sibTrans" cxnId="{A63A4AD2-7686-4ECB-B2CA-0FC4388051F3}">
      <dgm:prSet/>
      <dgm:spPr/>
      <dgm:t>
        <a:bodyPr/>
        <a:lstStyle/>
        <a:p>
          <a:endParaRPr lang="en-US"/>
        </a:p>
      </dgm:t>
    </dgm:pt>
    <dgm:pt modelId="{6988738A-A0F1-48DF-BCAD-F752B1E8D210}">
      <dgm:prSet/>
      <dgm:spPr/>
      <dgm:t>
        <a:bodyPr/>
        <a:lstStyle/>
        <a:p>
          <a:r>
            <a:rPr lang="en-US" dirty="0"/>
            <a:t>Independent audit </a:t>
          </a:r>
        </a:p>
      </dgm:t>
    </dgm:pt>
    <dgm:pt modelId="{E4E40CBA-74F6-41A4-8563-73F12B6C0002}" type="parTrans" cxnId="{171F98A6-3000-455D-B87F-2C7E1445BD2F}">
      <dgm:prSet/>
      <dgm:spPr/>
      <dgm:t>
        <a:bodyPr/>
        <a:lstStyle/>
        <a:p>
          <a:endParaRPr lang="en-US"/>
        </a:p>
      </dgm:t>
    </dgm:pt>
    <dgm:pt modelId="{3D572A83-91B8-44AC-8F5A-79538A54B040}" type="sibTrans" cxnId="{171F98A6-3000-455D-B87F-2C7E1445BD2F}">
      <dgm:prSet/>
      <dgm:spPr/>
      <dgm:t>
        <a:bodyPr/>
        <a:lstStyle/>
        <a:p>
          <a:endParaRPr lang="en-US"/>
        </a:p>
      </dgm:t>
    </dgm:pt>
    <dgm:pt modelId="{63EC7C2E-FA3B-41DD-8397-F142D05227DC}">
      <dgm:prSet/>
      <dgm:spPr/>
      <dgm:t>
        <a:bodyPr/>
        <a:lstStyle/>
        <a:p>
          <a:r>
            <a:rPr lang="en-US" dirty="0"/>
            <a:t>Proposed Budget</a:t>
          </a:r>
        </a:p>
      </dgm:t>
    </dgm:pt>
    <dgm:pt modelId="{55313A56-4E9A-4C58-A602-33B5FDC73D74}" type="parTrans" cxnId="{CB5BC0BF-85D2-47F5-9AF0-56D63F37A8E7}">
      <dgm:prSet/>
      <dgm:spPr/>
      <dgm:t>
        <a:bodyPr/>
        <a:lstStyle/>
        <a:p>
          <a:endParaRPr lang="en-US"/>
        </a:p>
      </dgm:t>
    </dgm:pt>
    <dgm:pt modelId="{BDD9E105-22B4-4408-B665-F48BBCAA94BC}" type="sibTrans" cxnId="{CB5BC0BF-85D2-47F5-9AF0-56D63F37A8E7}">
      <dgm:prSet/>
      <dgm:spPr/>
      <dgm:t>
        <a:bodyPr/>
        <a:lstStyle/>
        <a:p>
          <a:endParaRPr lang="en-US"/>
        </a:p>
      </dgm:t>
    </dgm:pt>
    <dgm:pt modelId="{7F56132C-2226-4823-BEB8-2E0B41F7AE08}">
      <dgm:prSet/>
      <dgm:spPr/>
      <dgm:t>
        <a:bodyPr/>
        <a:lstStyle/>
        <a:p>
          <a:r>
            <a:rPr lang="en-US" dirty="0"/>
            <a:t>See Sample Budget Table</a:t>
          </a:r>
        </a:p>
      </dgm:t>
    </dgm:pt>
    <dgm:pt modelId="{764D5D4B-C2F4-49BD-85F6-7D906E0CCE4A}" type="parTrans" cxnId="{93C37872-7C64-4FF0-AAB3-485A4C448FDD}">
      <dgm:prSet/>
      <dgm:spPr/>
      <dgm:t>
        <a:bodyPr/>
        <a:lstStyle/>
        <a:p>
          <a:endParaRPr lang="en-US"/>
        </a:p>
      </dgm:t>
    </dgm:pt>
    <dgm:pt modelId="{F27B1D51-EF21-4587-9B0D-6BDDF5719209}" type="sibTrans" cxnId="{93C37872-7C64-4FF0-AAB3-485A4C448FDD}">
      <dgm:prSet/>
      <dgm:spPr/>
      <dgm:t>
        <a:bodyPr/>
        <a:lstStyle/>
        <a:p>
          <a:endParaRPr lang="en-US"/>
        </a:p>
      </dgm:t>
    </dgm:pt>
    <dgm:pt modelId="{A7620BF4-76E2-4767-8FAD-63D24144508B}" type="pres">
      <dgm:prSet presAssocID="{7304A6B4-E87D-4B44-B0BF-124F49FBB21E}" presName="linear" presStyleCnt="0">
        <dgm:presLayoutVars>
          <dgm:dir/>
          <dgm:animLvl val="lvl"/>
          <dgm:resizeHandles val="exact"/>
        </dgm:presLayoutVars>
      </dgm:prSet>
      <dgm:spPr/>
    </dgm:pt>
    <dgm:pt modelId="{7D64BA80-3587-4DFB-B3E0-2CBEE8BF9819}" type="pres">
      <dgm:prSet presAssocID="{B4578FAD-C03A-4E74-A2D5-FFE8DE055DAE}" presName="parentLin" presStyleCnt="0"/>
      <dgm:spPr/>
    </dgm:pt>
    <dgm:pt modelId="{17843407-698F-46E0-BB7A-932093FBAB4A}" type="pres">
      <dgm:prSet presAssocID="{B4578FAD-C03A-4E74-A2D5-FFE8DE055DAE}" presName="parentLeftMargin" presStyleLbl="node1" presStyleIdx="0" presStyleCnt="3"/>
      <dgm:spPr/>
    </dgm:pt>
    <dgm:pt modelId="{2B9B5A7D-2035-4946-82C2-19CFB21684D8}" type="pres">
      <dgm:prSet presAssocID="{B4578FAD-C03A-4E74-A2D5-FFE8DE055DAE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667ACDE-D653-4655-8C30-6EFFAB432926}" type="pres">
      <dgm:prSet presAssocID="{B4578FAD-C03A-4E74-A2D5-FFE8DE055DAE}" presName="negativeSpace" presStyleCnt="0"/>
      <dgm:spPr/>
    </dgm:pt>
    <dgm:pt modelId="{ED17185F-B8ED-4109-BDD1-E9CC96DD4163}" type="pres">
      <dgm:prSet presAssocID="{B4578FAD-C03A-4E74-A2D5-FFE8DE055DAE}" presName="childText" presStyleLbl="conFgAcc1" presStyleIdx="0" presStyleCnt="3">
        <dgm:presLayoutVars>
          <dgm:bulletEnabled val="1"/>
        </dgm:presLayoutVars>
      </dgm:prSet>
      <dgm:spPr/>
    </dgm:pt>
    <dgm:pt modelId="{688F669B-AC8E-4C8D-B65C-8329B42BA176}" type="pres">
      <dgm:prSet presAssocID="{4C1522EF-19A1-41AF-8D12-35395B00289F}" presName="spaceBetweenRectangles" presStyleCnt="0"/>
      <dgm:spPr/>
    </dgm:pt>
    <dgm:pt modelId="{0CF5AA7B-B8BA-4BB0-9D05-6781DD3A2BE5}" type="pres">
      <dgm:prSet presAssocID="{879A9316-106B-4406-9E13-1A5939DC96E0}" presName="parentLin" presStyleCnt="0"/>
      <dgm:spPr/>
    </dgm:pt>
    <dgm:pt modelId="{3E85E90A-AD10-4716-9CE3-132BAD639557}" type="pres">
      <dgm:prSet presAssocID="{879A9316-106B-4406-9E13-1A5939DC96E0}" presName="parentLeftMargin" presStyleLbl="node1" presStyleIdx="0" presStyleCnt="3"/>
      <dgm:spPr/>
    </dgm:pt>
    <dgm:pt modelId="{130A9FC8-E49E-44BF-92BF-7E63CEA64545}" type="pres">
      <dgm:prSet presAssocID="{879A9316-106B-4406-9E13-1A5939DC96E0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EBBC200-B90B-4681-8D1D-50F291ED9ADD}" type="pres">
      <dgm:prSet presAssocID="{879A9316-106B-4406-9E13-1A5939DC96E0}" presName="negativeSpace" presStyleCnt="0"/>
      <dgm:spPr/>
    </dgm:pt>
    <dgm:pt modelId="{0F892690-CEFA-4DD6-9041-A7353F00EFA8}" type="pres">
      <dgm:prSet presAssocID="{879A9316-106B-4406-9E13-1A5939DC96E0}" presName="childText" presStyleLbl="conFgAcc1" presStyleIdx="1" presStyleCnt="3">
        <dgm:presLayoutVars>
          <dgm:bulletEnabled val="1"/>
        </dgm:presLayoutVars>
      </dgm:prSet>
      <dgm:spPr/>
    </dgm:pt>
    <dgm:pt modelId="{26D611EC-BFD5-4B78-AE8B-7F760F05E66C}" type="pres">
      <dgm:prSet presAssocID="{A0498CB3-DBE3-427D-9525-796BCCA15A25}" presName="spaceBetweenRectangles" presStyleCnt="0"/>
      <dgm:spPr/>
    </dgm:pt>
    <dgm:pt modelId="{449857CB-6D2D-4650-BF61-568FC8300C7E}" type="pres">
      <dgm:prSet presAssocID="{63EC7C2E-FA3B-41DD-8397-F142D05227DC}" presName="parentLin" presStyleCnt="0"/>
      <dgm:spPr/>
    </dgm:pt>
    <dgm:pt modelId="{AA6284D7-651C-4DA0-9A1C-D899DB600914}" type="pres">
      <dgm:prSet presAssocID="{63EC7C2E-FA3B-41DD-8397-F142D05227DC}" presName="parentLeftMargin" presStyleLbl="node1" presStyleIdx="1" presStyleCnt="3"/>
      <dgm:spPr/>
    </dgm:pt>
    <dgm:pt modelId="{1C39EC28-F3B0-470C-A752-93C49FCFE405}" type="pres">
      <dgm:prSet presAssocID="{63EC7C2E-FA3B-41DD-8397-F142D05227DC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201F116B-A1D8-49B6-8A13-AB2D30DB86DB}" type="pres">
      <dgm:prSet presAssocID="{63EC7C2E-FA3B-41DD-8397-F142D05227DC}" presName="negativeSpace" presStyleCnt="0"/>
      <dgm:spPr/>
    </dgm:pt>
    <dgm:pt modelId="{879A7F91-F4E5-4188-A73C-AF7546090587}" type="pres">
      <dgm:prSet presAssocID="{63EC7C2E-FA3B-41DD-8397-F142D05227DC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201B0B22-4290-48BA-A1F5-841DD1DAAEDF}" type="presOf" srcId="{7F56132C-2226-4823-BEB8-2E0B41F7AE08}" destId="{879A7F91-F4E5-4188-A73C-AF7546090587}" srcOrd="0" destOrd="0" presId="urn:microsoft.com/office/officeart/2005/8/layout/list1"/>
    <dgm:cxn modelId="{F430FF2B-90F2-435F-97E2-FA9F0220AD1B}" type="presOf" srcId="{879A9316-106B-4406-9E13-1A5939DC96E0}" destId="{3E85E90A-AD10-4716-9CE3-132BAD639557}" srcOrd="0" destOrd="0" presId="urn:microsoft.com/office/officeart/2005/8/layout/list1"/>
    <dgm:cxn modelId="{D9A9C240-B541-4A6C-8026-0E414869A299}" type="presOf" srcId="{63EC7C2E-FA3B-41DD-8397-F142D05227DC}" destId="{AA6284D7-651C-4DA0-9A1C-D899DB600914}" srcOrd="0" destOrd="0" presId="urn:microsoft.com/office/officeart/2005/8/layout/list1"/>
    <dgm:cxn modelId="{93C37872-7C64-4FF0-AAB3-485A4C448FDD}" srcId="{63EC7C2E-FA3B-41DD-8397-F142D05227DC}" destId="{7F56132C-2226-4823-BEB8-2E0B41F7AE08}" srcOrd="0" destOrd="0" parTransId="{764D5D4B-C2F4-49BD-85F6-7D906E0CCE4A}" sibTransId="{F27B1D51-EF21-4587-9B0D-6BDDF5719209}"/>
    <dgm:cxn modelId="{44D60F73-E2A0-450B-A1EF-6EC9DBCE63AB}" type="presOf" srcId="{B4578FAD-C03A-4E74-A2D5-FFE8DE055DAE}" destId="{2B9B5A7D-2035-4946-82C2-19CFB21684D8}" srcOrd="1" destOrd="0" presId="urn:microsoft.com/office/officeart/2005/8/layout/list1"/>
    <dgm:cxn modelId="{33EA2D94-E729-48DE-97E0-550BCDF334AA}" srcId="{7304A6B4-E87D-4B44-B0BF-124F49FBB21E}" destId="{879A9316-106B-4406-9E13-1A5939DC96E0}" srcOrd="1" destOrd="0" parTransId="{20148EB3-DB68-45B1-8AD9-17A1587EAAEC}" sibTransId="{A0498CB3-DBE3-427D-9525-796BCCA15A25}"/>
    <dgm:cxn modelId="{1C24A7A2-A490-4A98-96C4-A3D7B96C63B9}" type="presOf" srcId="{879A9316-106B-4406-9E13-1A5939DC96E0}" destId="{130A9FC8-E49E-44BF-92BF-7E63CEA64545}" srcOrd="1" destOrd="0" presId="urn:microsoft.com/office/officeart/2005/8/layout/list1"/>
    <dgm:cxn modelId="{171F98A6-3000-455D-B87F-2C7E1445BD2F}" srcId="{879A9316-106B-4406-9E13-1A5939DC96E0}" destId="{6988738A-A0F1-48DF-BCAD-F752B1E8D210}" srcOrd="1" destOrd="0" parTransId="{E4E40CBA-74F6-41A4-8563-73F12B6C0002}" sibTransId="{3D572A83-91B8-44AC-8F5A-79538A54B040}"/>
    <dgm:cxn modelId="{CC7F8AAA-605F-4957-975C-5DB58103BA95}" type="presOf" srcId="{B4578FAD-C03A-4E74-A2D5-FFE8DE055DAE}" destId="{17843407-698F-46E0-BB7A-932093FBAB4A}" srcOrd="0" destOrd="0" presId="urn:microsoft.com/office/officeart/2005/8/layout/list1"/>
    <dgm:cxn modelId="{A304FFBD-5E9E-4F34-895B-D70D91A87B29}" srcId="{7304A6B4-E87D-4B44-B0BF-124F49FBB21E}" destId="{B4578FAD-C03A-4E74-A2D5-FFE8DE055DAE}" srcOrd="0" destOrd="0" parTransId="{543EB0BA-918E-485D-9ECF-62CD2CDB98C0}" sibTransId="{4C1522EF-19A1-41AF-8D12-35395B00289F}"/>
    <dgm:cxn modelId="{CB6D13BE-59EB-4A32-95F3-F9799802A588}" type="presOf" srcId="{E368FDFD-ED5A-4D4A-89E0-628F372F1B4D}" destId="{0F892690-CEFA-4DD6-9041-A7353F00EFA8}" srcOrd="0" destOrd="0" presId="urn:microsoft.com/office/officeart/2005/8/layout/list1"/>
    <dgm:cxn modelId="{CB5BC0BF-85D2-47F5-9AF0-56D63F37A8E7}" srcId="{7304A6B4-E87D-4B44-B0BF-124F49FBB21E}" destId="{63EC7C2E-FA3B-41DD-8397-F142D05227DC}" srcOrd="2" destOrd="0" parTransId="{55313A56-4E9A-4C58-A602-33B5FDC73D74}" sibTransId="{BDD9E105-22B4-4408-B665-F48BBCAA94BC}"/>
    <dgm:cxn modelId="{171DDBBF-1229-40CE-808D-94CD86B7ED78}" type="presOf" srcId="{6988738A-A0F1-48DF-BCAD-F752B1E8D210}" destId="{0F892690-CEFA-4DD6-9041-A7353F00EFA8}" srcOrd="0" destOrd="1" presId="urn:microsoft.com/office/officeart/2005/8/layout/list1"/>
    <dgm:cxn modelId="{FFB1B3CA-B13D-421A-9D3E-6FFDE72616EC}" type="presOf" srcId="{63EC7C2E-FA3B-41DD-8397-F142D05227DC}" destId="{1C39EC28-F3B0-470C-A752-93C49FCFE405}" srcOrd="1" destOrd="0" presId="urn:microsoft.com/office/officeart/2005/8/layout/list1"/>
    <dgm:cxn modelId="{A63A4AD2-7686-4ECB-B2CA-0FC4388051F3}" srcId="{879A9316-106B-4406-9E13-1A5939DC96E0}" destId="{E368FDFD-ED5A-4D4A-89E0-628F372F1B4D}" srcOrd="0" destOrd="0" parTransId="{0ADB779B-8E96-4D61-8C9B-08316728177C}" sibTransId="{84B06680-AB7D-4101-922F-9DFB2A90C7B4}"/>
    <dgm:cxn modelId="{6FD1A7DB-E480-48EA-BCF5-87F5385A8466}" type="presOf" srcId="{7304A6B4-E87D-4B44-B0BF-124F49FBB21E}" destId="{A7620BF4-76E2-4767-8FAD-63D24144508B}" srcOrd="0" destOrd="0" presId="urn:microsoft.com/office/officeart/2005/8/layout/list1"/>
    <dgm:cxn modelId="{21697C4D-703D-4E0B-94FF-DE40127E64DB}" type="presParOf" srcId="{A7620BF4-76E2-4767-8FAD-63D24144508B}" destId="{7D64BA80-3587-4DFB-B3E0-2CBEE8BF9819}" srcOrd="0" destOrd="0" presId="urn:microsoft.com/office/officeart/2005/8/layout/list1"/>
    <dgm:cxn modelId="{BE9CF067-4389-4C73-A04B-9FBEB06F2142}" type="presParOf" srcId="{7D64BA80-3587-4DFB-B3E0-2CBEE8BF9819}" destId="{17843407-698F-46E0-BB7A-932093FBAB4A}" srcOrd="0" destOrd="0" presId="urn:microsoft.com/office/officeart/2005/8/layout/list1"/>
    <dgm:cxn modelId="{A414945E-66C1-4727-948D-B3404A0E7D43}" type="presParOf" srcId="{7D64BA80-3587-4DFB-B3E0-2CBEE8BF9819}" destId="{2B9B5A7D-2035-4946-82C2-19CFB21684D8}" srcOrd="1" destOrd="0" presId="urn:microsoft.com/office/officeart/2005/8/layout/list1"/>
    <dgm:cxn modelId="{7E660595-8728-4B54-845F-9958BB989B2A}" type="presParOf" srcId="{A7620BF4-76E2-4767-8FAD-63D24144508B}" destId="{F667ACDE-D653-4655-8C30-6EFFAB432926}" srcOrd="1" destOrd="0" presId="urn:microsoft.com/office/officeart/2005/8/layout/list1"/>
    <dgm:cxn modelId="{90BDD34C-43F6-4E29-88AD-E57B62D6C1AD}" type="presParOf" srcId="{A7620BF4-76E2-4767-8FAD-63D24144508B}" destId="{ED17185F-B8ED-4109-BDD1-E9CC96DD4163}" srcOrd="2" destOrd="0" presId="urn:microsoft.com/office/officeart/2005/8/layout/list1"/>
    <dgm:cxn modelId="{4237F6EB-1886-4FCF-A3D8-1C0512B21968}" type="presParOf" srcId="{A7620BF4-76E2-4767-8FAD-63D24144508B}" destId="{688F669B-AC8E-4C8D-B65C-8329B42BA176}" srcOrd="3" destOrd="0" presId="urn:microsoft.com/office/officeart/2005/8/layout/list1"/>
    <dgm:cxn modelId="{52CC8E80-8B4A-49D4-8496-3BF5A5C59223}" type="presParOf" srcId="{A7620BF4-76E2-4767-8FAD-63D24144508B}" destId="{0CF5AA7B-B8BA-4BB0-9D05-6781DD3A2BE5}" srcOrd="4" destOrd="0" presId="urn:microsoft.com/office/officeart/2005/8/layout/list1"/>
    <dgm:cxn modelId="{B390E260-8323-432E-ABDD-74DE557429DD}" type="presParOf" srcId="{0CF5AA7B-B8BA-4BB0-9D05-6781DD3A2BE5}" destId="{3E85E90A-AD10-4716-9CE3-132BAD639557}" srcOrd="0" destOrd="0" presId="urn:microsoft.com/office/officeart/2005/8/layout/list1"/>
    <dgm:cxn modelId="{EDCE984F-ACA8-4B7F-A24D-7A3D5FBA4BC5}" type="presParOf" srcId="{0CF5AA7B-B8BA-4BB0-9D05-6781DD3A2BE5}" destId="{130A9FC8-E49E-44BF-92BF-7E63CEA64545}" srcOrd="1" destOrd="0" presId="urn:microsoft.com/office/officeart/2005/8/layout/list1"/>
    <dgm:cxn modelId="{6761A728-5C8D-4721-94B9-CBB0068AA850}" type="presParOf" srcId="{A7620BF4-76E2-4767-8FAD-63D24144508B}" destId="{7EBBC200-B90B-4681-8D1D-50F291ED9ADD}" srcOrd="5" destOrd="0" presId="urn:microsoft.com/office/officeart/2005/8/layout/list1"/>
    <dgm:cxn modelId="{DBDF03E1-23DC-4662-A7A0-5FCC64EFDA42}" type="presParOf" srcId="{A7620BF4-76E2-4767-8FAD-63D24144508B}" destId="{0F892690-CEFA-4DD6-9041-A7353F00EFA8}" srcOrd="6" destOrd="0" presId="urn:microsoft.com/office/officeart/2005/8/layout/list1"/>
    <dgm:cxn modelId="{1A2C45E3-033B-4331-B26A-0DBAB247A208}" type="presParOf" srcId="{A7620BF4-76E2-4767-8FAD-63D24144508B}" destId="{26D611EC-BFD5-4B78-AE8B-7F760F05E66C}" srcOrd="7" destOrd="0" presId="urn:microsoft.com/office/officeart/2005/8/layout/list1"/>
    <dgm:cxn modelId="{46219B52-63AC-4071-8444-E2DC3B3B02E7}" type="presParOf" srcId="{A7620BF4-76E2-4767-8FAD-63D24144508B}" destId="{449857CB-6D2D-4650-BF61-568FC8300C7E}" srcOrd="8" destOrd="0" presId="urn:microsoft.com/office/officeart/2005/8/layout/list1"/>
    <dgm:cxn modelId="{12C680AD-911F-48F0-8F1C-4AFB502158EE}" type="presParOf" srcId="{449857CB-6D2D-4650-BF61-568FC8300C7E}" destId="{AA6284D7-651C-4DA0-9A1C-D899DB600914}" srcOrd="0" destOrd="0" presId="urn:microsoft.com/office/officeart/2005/8/layout/list1"/>
    <dgm:cxn modelId="{81272770-4839-422E-AB90-363624F99EDF}" type="presParOf" srcId="{449857CB-6D2D-4650-BF61-568FC8300C7E}" destId="{1C39EC28-F3B0-470C-A752-93C49FCFE405}" srcOrd="1" destOrd="0" presId="urn:microsoft.com/office/officeart/2005/8/layout/list1"/>
    <dgm:cxn modelId="{BAE2141C-8368-4B61-9239-169CB7B43C04}" type="presParOf" srcId="{A7620BF4-76E2-4767-8FAD-63D24144508B}" destId="{201F116B-A1D8-49B6-8A13-AB2D30DB86DB}" srcOrd="9" destOrd="0" presId="urn:microsoft.com/office/officeart/2005/8/layout/list1"/>
    <dgm:cxn modelId="{251C396C-BCEE-4663-8D22-4D2ADC653074}" type="presParOf" srcId="{A7620BF4-76E2-4767-8FAD-63D24144508B}" destId="{879A7F91-F4E5-4188-A73C-AF754609058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78AA43-627A-406C-B9A6-67B6618C2457}">
      <dsp:nvSpPr>
        <dsp:cNvPr id="0" name=""/>
        <dsp:cNvSpPr/>
      </dsp:nvSpPr>
      <dsp:spPr>
        <a:xfrm>
          <a:off x="0" y="479"/>
          <a:ext cx="738811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D8E764-4021-46E1-9AB5-0F090460ED01}">
      <dsp:nvSpPr>
        <dsp:cNvPr id="0" name=""/>
        <dsp:cNvSpPr/>
      </dsp:nvSpPr>
      <dsp:spPr>
        <a:xfrm>
          <a:off x="0" y="479"/>
          <a:ext cx="7388119" cy="784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1. Eligibility Overview</a:t>
          </a:r>
        </a:p>
      </dsp:txBody>
      <dsp:txXfrm>
        <a:off x="0" y="479"/>
        <a:ext cx="7388119" cy="784617"/>
      </dsp:txXfrm>
    </dsp:sp>
    <dsp:sp modelId="{CC36BAF8-1AFE-4899-B73A-8CCCE3AC255C}">
      <dsp:nvSpPr>
        <dsp:cNvPr id="0" name=""/>
        <dsp:cNvSpPr/>
      </dsp:nvSpPr>
      <dsp:spPr>
        <a:xfrm>
          <a:off x="0" y="785097"/>
          <a:ext cx="738811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95FA2C-A6C5-44DE-AAD6-46B371E34AE3}">
      <dsp:nvSpPr>
        <dsp:cNvPr id="0" name=""/>
        <dsp:cNvSpPr/>
      </dsp:nvSpPr>
      <dsp:spPr>
        <a:xfrm>
          <a:off x="0" y="785097"/>
          <a:ext cx="7388119" cy="784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2. Technical Requirements</a:t>
          </a:r>
        </a:p>
      </dsp:txBody>
      <dsp:txXfrm>
        <a:off x="0" y="785097"/>
        <a:ext cx="7388119" cy="784617"/>
      </dsp:txXfrm>
    </dsp:sp>
    <dsp:sp modelId="{B656C258-6755-4B24-A805-7ECD80874D7B}">
      <dsp:nvSpPr>
        <dsp:cNvPr id="0" name=""/>
        <dsp:cNvSpPr/>
      </dsp:nvSpPr>
      <dsp:spPr>
        <a:xfrm>
          <a:off x="0" y="1569715"/>
          <a:ext cx="738811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5690F6-8FA6-4738-9564-982279FD02F0}">
      <dsp:nvSpPr>
        <dsp:cNvPr id="0" name=""/>
        <dsp:cNvSpPr/>
      </dsp:nvSpPr>
      <dsp:spPr>
        <a:xfrm>
          <a:off x="0" y="1569715"/>
          <a:ext cx="7388119" cy="784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3. Financial Requirements</a:t>
          </a:r>
        </a:p>
      </dsp:txBody>
      <dsp:txXfrm>
        <a:off x="0" y="1569715"/>
        <a:ext cx="7388119" cy="784617"/>
      </dsp:txXfrm>
    </dsp:sp>
    <dsp:sp modelId="{843C00C9-9DF6-4517-B6A5-745277B4F6C0}">
      <dsp:nvSpPr>
        <dsp:cNvPr id="0" name=""/>
        <dsp:cNvSpPr/>
      </dsp:nvSpPr>
      <dsp:spPr>
        <a:xfrm>
          <a:off x="0" y="2354332"/>
          <a:ext cx="738811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E71026-EAFE-4131-8EF6-52FA1518E27B}">
      <dsp:nvSpPr>
        <dsp:cNvPr id="0" name=""/>
        <dsp:cNvSpPr/>
      </dsp:nvSpPr>
      <dsp:spPr>
        <a:xfrm>
          <a:off x="0" y="2354332"/>
          <a:ext cx="7388119" cy="784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4. Challenge Process</a:t>
          </a:r>
        </a:p>
      </dsp:txBody>
      <dsp:txXfrm>
        <a:off x="0" y="2354332"/>
        <a:ext cx="7388119" cy="784617"/>
      </dsp:txXfrm>
    </dsp:sp>
    <dsp:sp modelId="{B39073DB-8142-4736-BD83-55565C6BF272}">
      <dsp:nvSpPr>
        <dsp:cNvPr id="0" name=""/>
        <dsp:cNvSpPr/>
      </dsp:nvSpPr>
      <dsp:spPr>
        <a:xfrm>
          <a:off x="0" y="3138950"/>
          <a:ext cx="738811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2D03A2-3B13-4504-8B90-5416A1F312D8}">
      <dsp:nvSpPr>
        <dsp:cNvPr id="0" name=""/>
        <dsp:cNvSpPr/>
      </dsp:nvSpPr>
      <dsp:spPr>
        <a:xfrm>
          <a:off x="0" y="3138950"/>
          <a:ext cx="7388119" cy="784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5. FAQs</a:t>
          </a:r>
        </a:p>
      </dsp:txBody>
      <dsp:txXfrm>
        <a:off x="0" y="3138950"/>
        <a:ext cx="7388119" cy="7846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FD7912-1E09-494D-B220-69A4B4CFBBBC}">
      <dsp:nvSpPr>
        <dsp:cNvPr id="0" name=""/>
        <dsp:cNvSpPr/>
      </dsp:nvSpPr>
      <dsp:spPr>
        <a:xfrm>
          <a:off x="1582" y="314986"/>
          <a:ext cx="1141382" cy="114138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75A468-2E15-404A-AF0E-B085338E7B53}">
      <dsp:nvSpPr>
        <dsp:cNvPr id="0" name=""/>
        <dsp:cNvSpPr/>
      </dsp:nvSpPr>
      <dsp:spPr>
        <a:xfrm>
          <a:off x="1582" y="1587924"/>
          <a:ext cx="3261093" cy="48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500" b="1" kern="1200"/>
            <a:t>Who: </a:t>
          </a:r>
          <a:r>
            <a:rPr lang="en-US" sz="3500" b="1" i="0" kern="1200"/>
            <a:t> </a:t>
          </a:r>
          <a:endParaRPr lang="en-US" sz="3500" kern="1200"/>
        </a:p>
      </dsp:txBody>
      <dsp:txXfrm>
        <a:off x="1582" y="1587924"/>
        <a:ext cx="3261093" cy="489164"/>
      </dsp:txXfrm>
    </dsp:sp>
    <dsp:sp modelId="{EA24D279-C30A-4EF3-A693-28C58A05E219}">
      <dsp:nvSpPr>
        <dsp:cNvPr id="0" name=""/>
        <dsp:cNvSpPr/>
      </dsp:nvSpPr>
      <dsp:spPr>
        <a:xfrm>
          <a:off x="1582" y="2138277"/>
          <a:ext cx="3261093" cy="12361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0" i="0" kern="1200"/>
            <a:t>Private Entiti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0" i="0" kern="1200"/>
            <a:t>Montana Nonprofit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0" i="0" kern="1200"/>
            <a:t>Cooperatives</a:t>
          </a:r>
          <a:endParaRPr lang="en-US" sz="1700" kern="120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0" i="0" kern="1200"/>
            <a:t>Partnerships </a:t>
          </a:r>
          <a:endParaRPr lang="en-US" sz="1700" kern="1200"/>
        </a:p>
      </dsp:txBody>
      <dsp:txXfrm>
        <a:off x="1582" y="2138277"/>
        <a:ext cx="3261093" cy="1236140"/>
      </dsp:txXfrm>
    </dsp:sp>
    <dsp:sp modelId="{5E943138-1F1C-48EF-9998-D9CE357EB5B5}">
      <dsp:nvSpPr>
        <dsp:cNvPr id="0" name=""/>
        <dsp:cNvSpPr/>
      </dsp:nvSpPr>
      <dsp:spPr>
        <a:xfrm>
          <a:off x="3833367" y="314986"/>
          <a:ext cx="1141382" cy="114138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2588D8-4805-4437-A445-BCC9E95B27AD}">
      <dsp:nvSpPr>
        <dsp:cNvPr id="0" name=""/>
        <dsp:cNvSpPr/>
      </dsp:nvSpPr>
      <dsp:spPr>
        <a:xfrm>
          <a:off x="3833367" y="1587924"/>
          <a:ext cx="3261093" cy="48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500" b="1" kern="1200"/>
            <a:t>What: </a:t>
          </a:r>
          <a:endParaRPr lang="en-US" sz="3500" kern="1200"/>
        </a:p>
      </dsp:txBody>
      <dsp:txXfrm>
        <a:off x="3833367" y="1587924"/>
        <a:ext cx="3261093" cy="489164"/>
      </dsp:txXfrm>
    </dsp:sp>
    <dsp:sp modelId="{9E3A1B15-A247-421A-8DEC-0D4B64BC62F0}">
      <dsp:nvSpPr>
        <dsp:cNvPr id="0" name=""/>
        <dsp:cNvSpPr/>
      </dsp:nvSpPr>
      <dsp:spPr>
        <a:xfrm>
          <a:off x="3833367" y="2138277"/>
          <a:ext cx="3261093" cy="12361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cquiring/installing middle or last mile broadband infrastructure </a:t>
          </a:r>
        </a:p>
      </dsp:txBody>
      <dsp:txXfrm>
        <a:off x="3833367" y="2138277"/>
        <a:ext cx="3261093" cy="1236140"/>
      </dsp:txXfrm>
    </dsp:sp>
    <dsp:sp modelId="{7BC69D55-DEF2-4BA4-893E-80F0C5C98110}">
      <dsp:nvSpPr>
        <dsp:cNvPr id="0" name=""/>
        <dsp:cNvSpPr/>
      </dsp:nvSpPr>
      <dsp:spPr>
        <a:xfrm>
          <a:off x="7665152" y="314986"/>
          <a:ext cx="1141382" cy="114138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377659-B5F5-4DF1-BA5D-A8E407D0FA5E}">
      <dsp:nvSpPr>
        <dsp:cNvPr id="0" name=""/>
        <dsp:cNvSpPr/>
      </dsp:nvSpPr>
      <dsp:spPr>
        <a:xfrm>
          <a:off x="7665152" y="1587924"/>
          <a:ext cx="3261093" cy="4891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500" b="1" kern="1200"/>
            <a:t>Where: </a:t>
          </a:r>
          <a:endParaRPr lang="en-US" sz="3500" kern="1200"/>
        </a:p>
      </dsp:txBody>
      <dsp:txXfrm>
        <a:off x="7665152" y="1587924"/>
        <a:ext cx="3261093" cy="489164"/>
      </dsp:txXfrm>
    </dsp:sp>
    <dsp:sp modelId="{B73350D4-55D1-4A59-9DBC-7E207A884EAD}">
      <dsp:nvSpPr>
        <dsp:cNvPr id="0" name=""/>
        <dsp:cNvSpPr/>
      </dsp:nvSpPr>
      <dsp:spPr>
        <a:xfrm>
          <a:off x="7665152" y="2138277"/>
          <a:ext cx="3261093" cy="12361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Frontier 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Unserved</a:t>
          </a:r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Underserved Areas </a:t>
          </a:r>
        </a:p>
      </dsp:txBody>
      <dsp:txXfrm>
        <a:off x="7665152" y="2138277"/>
        <a:ext cx="3261093" cy="12361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A8C16E-DD3F-4680-8BF2-4539B6C36B08}">
      <dsp:nvSpPr>
        <dsp:cNvPr id="0" name=""/>
        <dsp:cNvSpPr/>
      </dsp:nvSpPr>
      <dsp:spPr>
        <a:xfrm>
          <a:off x="392" y="1860681"/>
          <a:ext cx="1454289" cy="145428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05F072-83C0-4D7E-865F-E12CA5E7120F}">
      <dsp:nvSpPr>
        <dsp:cNvPr id="0" name=""/>
        <dsp:cNvSpPr/>
      </dsp:nvSpPr>
      <dsp:spPr>
        <a:xfrm>
          <a:off x="305793" y="2166082"/>
          <a:ext cx="843487" cy="84348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03AEE7-60FA-4FDC-9727-A14D460DC933}">
      <dsp:nvSpPr>
        <dsp:cNvPr id="0" name=""/>
        <dsp:cNvSpPr/>
      </dsp:nvSpPr>
      <dsp:spPr>
        <a:xfrm>
          <a:off x="1766315" y="1860681"/>
          <a:ext cx="3427967" cy="14542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echnical Narrative</a:t>
          </a:r>
        </a:p>
      </dsp:txBody>
      <dsp:txXfrm>
        <a:off x="1766315" y="1860681"/>
        <a:ext cx="3427967" cy="1454289"/>
      </dsp:txXfrm>
    </dsp:sp>
    <dsp:sp modelId="{E734084A-A827-4AB0-8034-D28FACE8409F}">
      <dsp:nvSpPr>
        <dsp:cNvPr id="0" name=""/>
        <dsp:cNvSpPr/>
      </dsp:nvSpPr>
      <dsp:spPr>
        <a:xfrm>
          <a:off x="5791580" y="1860681"/>
          <a:ext cx="1454289" cy="145428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17E6E8-4E8B-47ED-8D15-81F9E8E0CAB4}">
      <dsp:nvSpPr>
        <dsp:cNvPr id="0" name=""/>
        <dsp:cNvSpPr/>
      </dsp:nvSpPr>
      <dsp:spPr>
        <a:xfrm>
          <a:off x="6096980" y="2166082"/>
          <a:ext cx="843487" cy="84348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4EA528-15FE-47BA-954C-1764227B816F}">
      <dsp:nvSpPr>
        <dsp:cNvPr id="0" name=""/>
        <dsp:cNvSpPr/>
      </dsp:nvSpPr>
      <dsp:spPr>
        <a:xfrm>
          <a:off x="7557502" y="1860681"/>
          <a:ext cx="3427967" cy="14542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reliminary Design Drawings  (P.E. Stamped)</a:t>
          </a:r>
        </a:p>
      </dsp:txBody>
      <dsp:txXfrm>
        <a:off x="7557502" y="1860681"/>
        <a:ext cx="3427967" cy="145428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4678B5-EAD0-496A-8C7F-96B96004EAF8}">
      <dsp:nvSpPr>
        <dsp:cNvPr id="0" name=""/>
        <dsp:cNvSpPr/>
      </dsp:nvSpPr>
      <dsp:spPr>
        <a:xfrm>
          <a:off x="0" y="0"/>
          <a:ext cx="9288654" cy="1257841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100" kern="1200"/>
            <a:t>Certified by a Montana PE</a:t>
          </a:r>
        </a:p>
      </dsp:txBody>
      <dsp:txXfrm>
        <a:off x="36841" y="36841"/>
        <a:ext cx="7931345" cy="1184159"/>
      </dsp:txXfrm>
    </dsp:sp>
    <dsp:sp modelId="{CC00FA03-8A4D-4857-B378-5B734B9D0050}">
      <dsp:nvSpPr>
        <dsp:cNvPr id="0" name=""/>
        <dsp:cNvSpPr/>
      </dsp:nvSpPr>
      <dsp:spPr>
        <a:xfrm>
          <a:off x="819587" y="1467481"/>
          <a:ext cx="9288654" cy="1257841"/>
        </a:xfrm>
        <a:prstGeom prst="roundRect">
          <a:avLst>
            <a:gd name="adj" fmla="val 1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100" kern="1200" dirty="0"/>
            <a:t>Montana Certified Professional Enginee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  <a:defRPr cap="all"/>
          </a:pPr>
          <a:r>
            <a:rPr lang="en-US" sz="1600" kern="1200" dirty="0"/>
            <a:t>Name, Title, Telephone Number, Email Address </a:t>
          </a:r>
        </a:p>
      </dsp:txBody>
      <dsp:txXfrm>
        <a:off x="856428" y="1504322"/>
        <a:ext cx="7577788" cy="1184159"/>
      </dsp:txXfrm>
    </dsp:sp>
    <dsp:sp modelId="{D339164A-E6B7-4C82-AB80-18E04F89908A}">
      <dsp:nvSpPr>
        <dsp:cNvPr id="0" name=""/>
        <dsp:cNvSpPr/>
      </dsp:nvSpPr>
      <dsp:spPr>
        <a:xfrm>
          <a:off x="1639174" y="2934963"/>
          <a:ext cx="9288654" cy="1257841"/>
        </a:xfrm>
        <a:prstGeom prst="roundRect">
          <a:avLst>
            <a:gd name="adj" fmla="val 1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100" kern="1200" dirty="0"/>
            <a:t>“This individual will be the primary contact for any technical questions regarding the allocation application document and supporting documentation. “</a:t>
          </a:r>
        </a:p>
      </dsp:txBody>
      <dsp:txXfrm>
        <a:off x="1676015" y="2971804"/>
        <a:ext cx="7577788" cy="1184159"/>
      </dsp:txXfrm>
    </dsp:sp>
    <dsp:sp modelId="{75ACBE30-CC75-4D1E-9E45-BAFDD2D13617}">
      <dsp:nvSpPr>
        <dsp:cNvPr id="0" name=""/>
        <dsp:cNvSpPr/>
      </dsp:nvSpPr>
      <dsp:spPr>
        <a:xfrm>
          <a:off x="8471057" y="953863"/>
          <a:ext cx="817596" cy="817596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655016" y="953863"/>
        <a:ext cx="449678" cy="615241"/>
      </dsp:txXfrm>
    </dsp:sp>
    <dsp:sp modelId="{7BD14DAE-FBD0-4B05-A689-F3B9D8334459}">
      <dsp:nvSpPr>
        <dsp:cNvPr id="0" name=""/>
        <dsp:cNvSpPr/>
      </dsp:nvSpPr>
      <dsp:spPr>
        <a:xfrm>
          <a:off x="9290644" y="2412959"/>
          <a:ext cx="817596" cy="817596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-849226"/>
            <a:satOff val="-75346"/>
            <a:lumOff val="-769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849226"/>
              <a:satOff val="-75346"/>
              <a:lumOff val="-76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9474603" y="2412959"/>
        <a:ext cx="449678" cy="61524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E4DEAC-793B-4799-8F75-C661409276C5}">
      <dsp:nvSpPr>
        <dsp:cNvPr id="0" name=""/>
        <dsp:cNvSpPr/>
      </dsp:nvSpPr>
      <dsp:spPr>
        <a:xfrm>
          <a:off x="718664" y="453902"/>
          <a:ext cx="1955812" cy="1955812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52C101-F1F0-4A60-A155-A4B5E79F5815}">
      <dsp:nvSpPr>
        <dsp:cNvPr id="0" name=""/>
        <dsp:cNvSpPr/>
      </dsp:nvSpPr>
      <dsp:spPr>
        <a:xfrm>
          <a:off x="1135476" y="870714"/>
          <a:ext cx="1122187" cy="112218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C9F1DB-D6DE-408B-BED5-CD63616B862A}">
      <dsp:nvSpPr>
        <dsp:cNvPr id="0" name=""/>
        <dsp:cNvSpPr/>
      </dsp:nvSpPr>
      <dsp:spPr>
        <a:xfrm>
          <a:off x="93445" y="3018902"/>
          <a:ext cx="3206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200" kern="1200"/>
            <a:t>Material and Equipment Specifications</a:t>
          </a:r>
        </a:p>
      </dsp:txBody>
      <dsp:txXfrm>
        <a:off x="93445" y="3018902"/>
        <a:ext cx="3206250" cy="720000"/>
      </dsp:txXfrm>
    </dsp:sp>
    <dsp:sp modelId="{3DB007F5-B888-4116-A698-FC59A23B1DBC}">
      <dsp:nvSpPr>
        <dsp:cNvPr id="0" name=""/>
        <dsp:cNvSpPr/>
      </dsp:nvSpPr>
      <dsp:spPr>
        <a:xfrm>
          <a:off x="4486008" y="453902"/>
          <a:ext cx="1955812" cy="1955812"/>
        </a:xfrm>
        <a:prstGeom prst="round2DiagRect">
          <a:avLst>
            <a:gd name="adj1" fmla="val 29727"/>
            <a:gd name="adj2" fmla="val 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EF4D1A-8B9E-4E60-8367-F538F5143E9A}">
      <dsp:nvSpPr>
        <dsp:cNvPr id="0" name=""/>
        <dsp:cNvSpPr/>
      </dsp:nvSpPr>
      <dsp:spPr>
        <a:xfrm>
          <a:off x="4902820" y="870714"/>
          <a:ext cx="1122187" cy="112218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394005-17CA-4B2C-93AF-8A7039ECE011}">
      <dsp:nvSpPr>
        <dsp:cNvPr id="0" name=""/>
        <dsp:cNvSpPr/>
      </dsp:nvSpPr>
      <dsp:spPr>
        <a:xfrm>
          <a:off x="3860789" y="3018902"/>
          <a:ext cx="3206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200" kern="1200"/>
            <a:t>Logical Diagrams</a:t>
          </a:r>
        </a:p>
      </dsp:txBody>
      <dsp:txXfrm>
        <a:off x="3860789" y="3018902"/>
        <a:ext cx="3206250" cy="720000"/>
      </dsp:txXfrm>
    </dsp:sp>
    <dsp:sp modelId="{717DA27D-BE07-4489-AA62-EDC5827DBF29}">
      <dsp:nvSpPr>
        <dsp:cNvPr id="0" name=""/>
        <dsp:cNvSpPr/>
      </dsp:nvSpPr>
      <dsp:spPr>
        <a:xfrm>
          <a:off x="8253352" y="453902"/>
          <a:ext cx="1955812" cy="1955812"/>
        </a:xfrm>
        <a:prstGeom prst="round2DiagRect">
          <a:avLst>
            <a:gd name="adj1" fmla="val 29727"/>
            <a:gd name="adj2" fmla="val 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0ACA99-7EB2-459C-AC46-5027D054AF8A}">
      <dsp:nvSpPr>
        <dsp:cNvPr id="0" name=""/>
        <dsp:cNvSpPr/>
      </dsp:nvSpPr>
      <dsp:spPr>
        <a:xfrm>
          <a:off x="8670164" y="870714"/>
          <a:ext cx="1122187" cy="112218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D07310-2FB2-4C2A-935C-F91377E5AE43}">
      <dsp:nvSpPr>
        <dsp:cNvPr id="0" name=""/>
        <dsp:cNvSpPr/>
      </dsp:nvSpPr>
      <dsp:spPr>
        <a:xfrm>
          <a:off x="7628133" y="3018902"/>
          <a:ext cx="3206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200" kern="1200"/>
            <a:t>Mapping</a:t>
          </a:r>
        </a:p>
      </dsp:txBody>
      <dsp:txXfrm>
        <a:off x="7628133" y="3018902"/>
        <a:ext cx="3206250" cy="7200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17185F-B8ED-4109-BDD1-E9CC96DD4163}">
      <dsp:nvSpPr>
        <dsp:cNvPr id="0" name=""/>
        <dsp:cNvSpPr/>
      </dsp:nvSpPr>
      <dsp:spPr>
        <a:xfrm>
          <a:off x="0" y="452733"/>
          <a:ext cx="6241986" cy="70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B9B5A7D-2035-4946-82C2-19CFB21684D8}">
      <dsp:nvSpPr>
        <dsp:cNvPr id="0" name=""/>
        <dsp:cNvSpPr/>
      </dsp:nvSpPr>
      <dsp:spPr>
        <a:xfrm>
          <a:off x="312099" y="39453"/>
          <a:ext cx="4369390" cy="82656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53" tIns="0" rIns="165153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Pro Forma Requirements</a:t>
          </a:r>
        </a:p>
      </dsp:txBody>
      <dsp:txXfrm>
        <a:off x="352448" y="79802"/>
        <a:ext cx="4288692" cy="745862"/>
      </dsp:txXfrm>
    </dsp:sp>
    <dsp:sp modelId="{0F892690-CEFA-4DD6-9041-A7353F00EFA8}">
      <dsp:nvSpPr>
        <dsp:cNvPr id="0" name=""/>
        <dsp:cNvSpPr/>
      </dsp:nvSpPr>
      <dsp:spPr>
        <a:xfrm>
          <a:off x="0" y="1722813"/>
          <a:ext cx="6241986" cy="2028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84447" tIns="583184" rIns="484447" bIns="199136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/>
            <a:t>Most recent year of federal tax returns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Independent audit </a:t>
          </a:r>
        </a:p>
      </dsp:txBody>
      <dsp:txXfrm>
        <a:off x="0" y="1722813"/>
        <a:ext cx="6241986" cy="2028600"/>
      </dsp:txXfrm>
    </dsp:sp>
    <dsp:sp modelId="{130A9FC8-E49E-44BF-92BF-7E63CEA64545}">
      <dsp:nvSpPr>
        <dsp:cNvPr id="0" name=""/>
        <dsp:cNvSpPr/>
      </dsp:nvSpPr>
      <dsp:spPr>
        <a:xfrm>
          <a:off x="312099" y="1309533"/>
          <a:ext cx="4369390" cy="82656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53" tIns="0" rIns="165153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Supplemental Information</a:t>
          </a:r>
        </a:p>
      </dsp:txBody>
      <dsp:txXfrm>
        <a:off x="352448" y="1349882"/>
        <a:ext cx="4288692" cy="745862"/>
      </dsp:txXfrm>
    </dsp:sp>
    <dsp:sp modelId="{879A7F91-F4E5-4188-A73C-AF7546090587}">
      <dsp:nvSpPr>
        <dsp:cNvPr id="0" name=""/>
        <dsp:cNvSpPr/>
      </dsp:nvSpPr>
      <dsp:spPr>
        <a:xfrm>
          <a:off x="0" y="4315893"/>
          <a:ext cx="6241986" cy="11907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84447" tIns="583184" rIns="484447" bIns="199136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See Sample Budget Table</a:t>
          </a:r>
        </a:p>
      </dsp:txBody>
      <dsp:txXfrm>
        <a:off x="0" y="4315893"/>
        <a:ext cx="6241986" cy="1190700"/>
      </dsp:txXfrm>
    </dsp:sp>
    <dsp:sp modelId="{1C39EC28-F3B0-470C-A752-93C49FCFE405}">
      <dsp:nvSpPr>
        <dsp:cNvPr id="0" name=""/>
        <dsp:cNvSpPr/>
      </dsp:nvSpPr>
      <dsp:spPr>
        <a:xfrm>
          <a:off x="312099" y="3902613"/>
          <a:ext cx="4369390" cy="82656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53" tIns="0" rIns="165153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Proposed Budget</a:t>
          </a:r>
        </a:p>
      </dsp:txBody>
      <dsp:txXfrm>
        <a:off x="352448" y="3942962"/>
        <a:ext cx="4288692" cy="7458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C94F23B-F934-40C3-B6B7-4DBB3F3D0979}" type="datetimeFigureOut">
              <a:rPr lang="en-US" smtClean="0"/>
              <a:t>3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C7DD6FC-A94C-42CD-9C57-2B125139FE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30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1338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6.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2811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037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130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6.3 – I think Preliminary Design Drawings are the same as budgetary engineering design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576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6.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8612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6.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2574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4471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170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6.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7491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ction 6.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7DD6FC-A94C-42CD-9C57-2B125139FEC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991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4721C3-F9C6-452F-A2AD-80AA16C7ED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19272" y="3340067"/>
            <a:ext cx="2619375" cy="1377284"/>
          </a:xfrm>
          <a:prstGeom prst="rect">
            <a:avLst/>
          </a:prstGeom>
        </p:spPr>
      </p:pic>
      <p:sp>
        <p:nvSpPr>
          <p:cNvPr id="4" name="Rectangle">
            <a:extLst>
              <a:ext uri="{FF2B5EF4-FFF2-40B4-BE49-F238E27FC236}">
                <a16:creationId xmlns:a16="http://schemas.microsoft.com/office/drawing/2014/main" id="{F07C6E32-7130-4E36-8701-8E59E517907F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</p:spTree>
    <p:extLst>
      <p:ext uri="{BB962C8B-B14F-4D97-AF65-F5344CB8AC3E}">
        <p14:creationId xmlns:p14="http://schemas.microsoft.com/office/powerpoint/2010/main" val="260684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202A34A5-A029-A246-82C6-D288185EB396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2773E1D8-C87F-EE46-8284-575DCA498E81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/>
          <a:lstStyle/>
          <a:p>
            <a:fld id="{E5D44413-6C82-4D55-AAD6-275353B539DC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429A40D-770E-C144-A5B5-6A4442C09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57000" y="6224125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0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">
            <a:extLst>
              <a:ext uri="{FF2B5EF4-FFF2-40B4-BE49-F238E27FC236}">
                <a16:creationId xmlns:a16="http://schemas.microsoft.com/office/drawing/2014/main" id="{64248D99-2B30-464D-B9B7-4E5C3A1F3FB2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id="{3FAFF55B-FDE6-394B-A39B-22627D8FB6EA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/>
          <a:lstStyle/>
          <a:p>
            <a:fld id="{434AC302-5A3E-4125-9919-2B9760A46FF0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9E345E4-E77C-484E-9FBB-E4EC71F08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60769" y="6224125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9115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83ACCAC0-2C8A-CE43-8C55-22BB53C73920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A400A9BD-AA60-E24D-9FC2-722758C8C933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/>
          <a:lstStyle/>
          <a:p>
            <a:fld id="{9C8CFA03-5BA8-47CA-8A15-6445129B30D8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D4076461-FF7A-8843-B7F9-D041F3FB22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57000" y="6244986"/>
            <a:ext cx="573074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077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35FB147F-5DC4-B24C-B8CB-D3DA74290381}"/>
              </a:ext>
            </a:extLst>
          </p:cNvPr>
          <p:cNvSpPr/>
          <p:nvPr userDrawn="1"/>
        </p:nvSpPr>
        <p:spPr>
          <a:xfrm>
            <a:off x="1" y="3429000"/>
            <a:ext cx="12192000" cy="3429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A400A9BD-AA60-E24D-9FC2-722758C8C933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/>
          <a:lstStyle/>
          <a:p>
            <a:fld id="{6973E9DD-B574-44B0-BE91-99965210209D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B9308E97-4F89-394E-856A-5B4EFCB2E7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97279" y="1930861"/>
            <a:ext cx="2919413" cy="2919413"/>
          </a:xfrm>
          <a:prstGeom prst="rect">
            <a:avLst/>
          </a:prstGeo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A50BECA0-8817-964B-AEDB-A45669684C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59186" y="1930861"/>
            <a:ext cx="2919413" cy="2919413"/>
          </a:xfrm>
          <a:prstGeom prst="rect">
            <a:avLst/>
          </a:prstGeo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F399F4D-B67A-4C4B-BCF3-36FE110603F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21093" y="1930861"/>
            <a:ext cx="2919413" cy="2919413"/>
          </a:xfrm>
          <a:prstGeom prst="rect">
            <a:avLst/>
          </a:prstGeom>
          <a:solidFill>
            <a:srgbClr val="EDEFF7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8305C84-E25F-EC49-8F2B-4C0181FD3AB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097279" y="5257321"/>
            <a:ext cx="2919413" cy="583534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57A1FCE-E6BF-3747-9D43-42DBA6656EC0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4666773" y="5257321"/>
            <a:ext cx="2919413" cy="583534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B4B74C8-96E7-684F-91B9-8CE56CD10F1E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8236267" y="5257321"/>
            <a:ext cx="2919413" cy="583534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 algn="ctr">
              <a:buNone/>
              <a:defRPr sz="180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Name Goes Here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D522564E-B348-544F-A8E5-CFCAFA48B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88384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/>
          <a:lstStyle/>
          <a:p>
            <a:fld id="{ED7EF13E-AC1B-485A-9A3F-E9FB228AED81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0AB10FFC-D586-994D-8D3D-F4042255CB72}"/>
              </a:ext>
            </a:extLst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C7B0C08A-E831-D242-B2CE-2DEB004F982F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5C2191-88F7-4148-96FD-E129F707E038}"/>
              </a:ext>
            </a:extLst>
          </p:cNvPr>
          <p:cNvCxnSpPr/>
          <p:nvPr userDrawn="1"/>
        </p:nvCxnSpPr>
        <p:spPr>
          <a:xfrm>
            <a:off x="6818393" y="999565"/>
            <a:ext cx="0" cy="485887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FB2196-E251-5A40-86F7-6092CEBFA1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00" y="3135207"/>
            <a:ext cx="5460992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4800"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FACD1B-0D9C-A547-98A0-D66C341D3D7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540794" y="831286"/>
            <a:ext cx="4016206" cy="51954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>
              <a:buClr>
                <a:schemeClr val="tx1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068" indent="-342900">
              <a:buClr>
                <a:schemeClr val="tx1"/>
              </a:buClr>
              <a:buFont typeface="+mj-lt"/>
              <a:buAutoNum type="arabicPeriod"/>
              <a:defRPr sz="1400"/>
            </a:lvl2pPr>
            <a:lvl3pPr marL="612648" indent="-228600">
              <a:buClr>
                <a:schemeClr val="tx1"/>
              </a:buClr>
              <a:buFont typeface="+mj-lt"/>
              <a:buAutoNum type="arabicPeriod"/>
              <a:defRPr sz="1100"/>
            </a:lvl3pPr>
            <a:lvl4pPr marL="795528" indent="-228600">
              <a:buClr>
                <a:schemeClr val="tx1"/>
              </a:buClr>
              <a:buFont typeface="+mj-lt"/>
              <a:buAutoNum type="arabicPeriod"/>
              <a:defRPr sz="1100"/>
            </a:lvl4pPr>
            <a:lvl5pPr marL="978408" indent="-228600">
              <a:buClr>
                <a:schemeClr val="tx1"/>
              </a:buClr>
              <a:buFont typeface="+mj-lt"/>
              <a:buAutoNum type="arabicPeriod"/>
              <a:defRPr sz="1100"/>
            </a:lvl5pPr>
          </a:lstStyle>
          <a:p>
            <a:pPr lvl="0"/>
            <a:r>
              <a:rPr lang="en-US" noProof="0"/>
              <a:t>Quote Goes Here</a:t>
            </a:r>
          </a:p>
        </p:txBody>
      </p:sp>
    </p:spTree>
    <p:extLst>
      <p:ext uri="{BB962C8B-B14F-4D97-AF65-F5344CB8AC3E}">
        <p14:creationId xmlns:p14="http://schemas.microsoft.com/office/powerpoint/2010/main" val="1196890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/>
          <a:lstStyle/>
          <a:p>
            <a:fld id="{1EF60938-4EBA-4472-AC94-CDC619D37316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AA314B25-B4AF-394E-BBDA-7E6BAD315F39}"/>
              </a:ext>
            </a:extLst>
          </p:cNvPr>
          <p:cNvSpPr/>
          <p:nvPr userDrawn="1"/>
        </p:nvSpPr>
        <p:spPr>
          <a:xfrm>
            <a:off x="3351057" y="0"/>
            <a:ext cx="8840943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37575EF-0D14-6140-A91B-260C9C9DFE41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2544261-8049-494B-A93D-BDFF1BB84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00" y="3135207"/>
            <a:ext cx="4886854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214786D-83EE-814C-A5E4-D0EC7D29D0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5829" y="633875"/>
            <a:ext cx="5981171" cy="55902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342900" indent="-342900">
              <a:buClr>
                <a:schemeClr val="tx1"/>
              </a:buClr>
              <a:buFont typeface="+mj-lt"/>
              <a:buAutoNum type="arabicPeriod"/>
              <a:defRPr sz="1600">
                <a:solidFill>
                  <a:schemeClr val="tx1"/>
                </a:solidFill>
              </a:defRPr>
            </a:lvl1pPr>
            <a:lvl2pPr marL="544068" indent="-342900">
              <a:buClr>
                <a:schemeClr val="tx1"/>
              </a:buClr>
              <a:buFont typeface="+mj-lt"/>
              <a:buAutoNum type="arabicPeriod"/>
              <a:defRPr sz="1400">
                <a:solidFill>
                  <a:schemeClr val="tx1"/>
                </a:solidFill>
              </a:defRPr>
            </a:lvl2pPr>
            <a:lvl3pPr marL="61264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3pPr>
            <a:lvl4pPr marL="79552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4pPr>
            <a:lvl5pPr marL="978408" indent="-228600">
              <a:buClr>
                <a:schemeClr val="tx1"/>
              </a:buClr>
              <a:buFont typeface="+mj-lt"/>
              <a:buAutoNum type="arabicPeriod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03408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/>
          <a:lstStyle/>
          <a:p>
            <a:fld id="{D219B531-E0EE-44A3-BEDA-06DD88F91AB2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2E148DD3-DD87-154B-80B4-2421965D3C83}"/>
              </a:ext>
            </a:extLst>
          </p:cNvPr>
          <p:cNvSpPr/>
          <p:nvPr userDrawn="1"/>
        </p:nvSpPr>
        <p:spPr>
          <a:xfrm>
            <a:off x="1" y="1714500"/>
            <a:ext cx="12192000" cy="3429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42E4732-0E8F-7B46-BD08-0F2EE0DA8786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E73F81A-7260-5C4F-A7FF-CA2CC731BC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870" y="942871"/>
            <a:ext cx="571181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CD13CD4-3E4F-2E41-ACF4-2446257D23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43870" y="1973589"/>
            <a:ext cx="5711810" cy="39415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1"/>
              </a:buClr>
              <a:defRPr sz="1600">
                <a:solidFill>
                  <a:schemeClr val="tx1"/>
                </a:solidFill>
              </a:defRPr>
            </a:lvl1pPr>
            <a:lvl2pPr marL="384048" indent="-182880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56692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4980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3268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D8E69886-8907-DB47-87C2-0621AF156D9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05170" y="621039"/>
            <a:ext cx="4589130" cy="5603086"/>
          </a:xfrm>
          <a:prstGeom prst="rect">
            <a:avLst/>
          </a:prstGeom>
          <a:solidFill>
            <a:srgbClr val="EDEFF7"/>
          </a:solidFill>
        </p:spPr>
        <p:txBody>
          <a:bodyPr>
            <a:normAutofit/>
          </a:bodyPr>
          <a:lstStyle>
            <a:lvl1pPr>
              <a:buClr>
                <a:schemeClr val="tx1"/>
              </a:buClr>
              <a:defRPr sz="1600">
                <a:solidFill>
                  <a:schemeClr val="tx1"/>
                </a:solidFill>
              </a:defRPr>
            </a:lvl1pPr>
            <a:lvl2pPr marL="384048" indent="-182880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56692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3pPr>
            <a:lvl4pPr marL="74980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932688" indent="-18288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1976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202A34A5-A029-A246-82C6-D288185EB396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2773E1D8-C87F-EE46-8284-575DCA498E81}"/>
              </a:ext>
            </a:extLst>
          </p:cNvPr>
          <p:cNvSpPr/>
          <p:nvPr userDrawn="1"/>
        </p:nvSpPr>
        <p:spPr>
          <a:xfrm>
            <a:off x="437037" y="700769"/>
            <a:ext cx="8735243" cy="5168323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3023D60-4146-4ACE-BA95-77872A6DBB6F}" type="datetime1">
              <a:rPr lang="en-US" smtClean="0"/>
              <a:pPr/>
              <a:t>3/7/2022</a:t>
            </a:fld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noProof="0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429A40D-770E-C144-A5B5-6A4442C09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68560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94471D4A-AE98-4409-BAAF-823594A91A8F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2968884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CE212685-6940-4135-A686-B8C0A8177AF1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86891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202A34A5-A029-A246-82C6-D288185EB396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id="{2773E1D8-C87F-EE46-8284-575DCA498E81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8ECF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D44413-6C82-4D55-AAD6-275353B539DC}" type="datetime1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7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8EE3D-8CD1-4C3F-BD1C-C98C9596463C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429A40D-770E-C144-A5B5-6A4442C09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22281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>
            <a:extLst>
              <a:ext uri="{FF2B5EF4-FFF2-40B4-BE49-F238E27FC236}">
                <a16:creationId xmlns:a16="http://schemas.microsoft.com/office/drawing/2014/main" id="{94471D4A-AE98-4409-BAAF-823594A91A8F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5220569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83ACCAC0-2C8A-CE43-8C55-22BB53C73920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CFA03-5BA8-47CA-8A15-6445129B30D8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D4076461-FF7A-8843-B7F9-D041F3FB22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060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">
            <a:extLst>
              <a:ext uri="{FF2B5EF4-FFF2-40B4-BE49-F238E27FC236}">
                <a16:creationId xmlns:a16="http://schemas.microsoft.com/office/drawing/2014/main" id="{F9512BDE-EEA0-404B-8D45-8AA93D61DABC}"/>
              </a:ext>
            </a:extLst>
          </p:cNvPr>
          <p:cNvSpPr/>
          <p:nvPr userDrawn="1"/>
        </p:nvSpPr>
        <p:spPr>
          <a:xfrm flipH="1">
            <a:off x="-1" y="4450188"/>
            <a:ext cx="12192000" cy="240781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E1223535-0F2F-6340-80B9-0B5D9364A13F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cap="all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50E692-A990-4252-AC15-C007FA8BD94B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1436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an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5328D-7A88-474D-9135-E850CF4DE407}" type="datetime1">
              <a:rPr lang="en-US" noProof="0" smtClean="0"/>
              <a:t>3/7/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05BFC727-5650-B049-AA2A-2511C08FB35B}"/>
              </a:ext>
            </a:extLst>
          </p:cNvPr>
          <p:cNvSpPr/>
          <p:nvPr userDrawn="1"/>
        </p:nvSpPr>
        <p:spPr>
          <a:xfrm flipH="1">
            <a:off x="0" y="0"/>
            <a:ext cx="1195754" cy="6858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E700C598-C823-744D-BE16-5114B7625057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US" sz="1600" noProof="0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21BED569-C9C5-8F4D-A42A-ED4914579D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24550" y="633875"/>
            <a:ext cx="5632450" cy="5591175"/>
          </a:xfrm>
          <a:solidFill>
            <a:schemeClr val="tx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ACB6E588-2EB7-9A41-A93A-7757596EF9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5754" y="942870"/>
            <a:ext cx="4157296" cy="1292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 baseline="0"/>
            </a:lvl1pPr>
          </a:lstStyle>
          <a:p>
            <a:r>
              <a:rPr lang="en-US" noProof="0"/>
              <a:t>Title goes her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6C0FE70-F6BB-3D40-AD3C-E704CABE49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95754" y="2281657"/>
            <a:ext cx="4157296" cy="3633471"/>
          </a:xfrm>
        </p:spPr>
        <p:txBody>
          <a:bodyPr>
            <a:normAutofit/>
          </a:bodyPr>
          <a:lstStyle>
            <a:lvl1pPr marL="0" indent="0">
              <a:buClr>
                <a:schemeClr val="tx1"/>
              </a:buClr>
              <a:buNone/>
              <a:defRPr sz="1600">
                <a:solidFill>
                  <a:schemeClr val="tx1"/>
                </a:solidFill>
              </a:defRPr>
            </a:lvl1pPr>
            <a:lvl2pPr marL="201168" indent="0">
              <a:buClr>
                <a:schemeClr val="tx1"/>
              </a:buClr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2pPr>
            <a:lvl3pPr marL="38404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3pPr>
            <a:lvl4pPr marL="56692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4pPr>
            <a:lvl5pPr marL="749808" indent="0">
              <a:buClr>
                <a:schemeClr val="tx1"/>
              </a:buClr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9218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735647-42FE-44E4-BEFD-7E245B4C52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869267" y="153435"/>
            <a:ext cx="1075433" cy="10790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B74F8B0-15D7-4D3B-8912-AD71082C019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419272" y="1362646"/>
            <a:ext cx="2619375" cy="17430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31897A0-91B3-48CE-810B-62AE5ACCD75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19272" y="3340067"/>
            <a:ext cx="2619375" cy="137728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15D632-9760-4776-9110-13984F56592F}"/>
              </a:ext>
            </a:extLst>
          </p:cNvPr>
          <p:cNvSpPr txBox="1"/>
          <p:nvPr userDrawn="1"/>
        </p:nvSpPr>
        <p:spPr>
          <a:xfrm>
            <a:off x="10305700" y="4767031"/>
            <a:ext cx="188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lide </a:t>
            </a:r>
            <a:fld id="{AC40A3EE-5A3B-4AF0-BA26-6BFA31ECD8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22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6" r:id="rId2"/>
    <p:sldLayoutId id="2147483652" r:id="rId3"/>
    <p:sldLayoutId id="2147483649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CE1857D-BFFE-482A-AD1E-2D72B1493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41359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" imgW="300" imgH="295" progId="TCLayout.ActiveDocument.1">
                  <p:embed/>
                </p:oleObj>
              </mc:Choice>
              <mc:Fallback>
                <p:oleObj name="think-cell Slide" r:id="rId5" imgW="300" imgH="2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CE1857D-BFFE-482A-AD1E-2D72B1493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">
            <a:extLst>
              <a:ext uri="{FF2B5EF4-FFF2-40B4-BE49-F238E27FC236}">
                <a16:creationId xmlns:a16="http://schemas.microsoft.com/office/drawing/2014/main" id="{1552108B-1F90-0044-A7D4-0956E919F29A}"/>
              </a:ext>
            </a:extLst>
          </p:cNvPr>
          <p:cNvSpPr/>
          <p:nvPr userDrawn="1"/>
        </p:nvSpPr>
        <p:spPr>
          <a:xfrm>
            <a:off x="635000" y="633875"/>
            <a:ext cx="10922000" cy="5590250"/>
          </a:xfrm>
          <a:prstGeom prst="rect">
            <a:avLst/>
          </a:prstGeom>
          <a:solidFill>
            <a:srgbClr val="F6F9FF"/>
          </a:solidFill>
          <a:ln w="12700">
            <a:noFill/>
            <a:miter lim="400000"/>
          </a:ln>
          <a:effectLst>
            <a:outerShdw blurRad="254000" dist="25400" dir="2700000" rotWithShape="0">
              <a:srgbClr val="1F2125">
                <a:alpha val="15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E8ECF2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8ECF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942871"/>
            <a:ext cx="10058400" cy="5875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023D60-4146-4ACE-BA95-77872A6DBB6F}" type="datetime1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7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8EE3D-8CD1-4C3F-BD1C-C98C9596463C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1714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0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735647-42FE-44E4-BEFD-7E245B4C52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869267" y="153435"/>
            <a:ext cx="1075433" cy="10790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B74F8B0-15D7-4D3B-8912-AD71082C019A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9419272" y="1362646"/>
            <a:ext cx="2619375" cy="17430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31897A0-91B3-48CE-810B-62AE5ACCD752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419272" y="3340067"/>
            <a:ext cx="2619375" cy="137728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C15D632-9760-4776-9110-13984F56592F}"/>
              </a:ext>
            </a:extLst>
          </p:cNvPr>
          <p:cNvSpPr txBox="1"/>
          <p:nvPr userDrawn="1"/>
        </p:nvSpPr>
        <p:spPr>
          <a:xfrm>
            <a:off x="10305700" y="4767031"/>
            <a:ext cx="188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ide </a:t>
            </a:r>
            <a:fld id="{AC40A3EE-5A3B-4AF0-BA26-6BFA31ECD819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5C904287-EC19-48F4-9276-3C2D656F811C}"/>
              </a:ext>
            </a:extLst>
          </p:cNvPr>
          <p:cNvSpPr/>
          <p:nvPr userDrawn="1"/>
        </p:nvSpPr>
        <p:spPr>
          <a:xfrm flipH="1">
            <a:off x="0" y="0"/>
            <a:ext cx="3351057" cy="6858000"/>
          </a:xfrm>
          <a:prstGeom prst="rect">
            <a:avLst/>
          </a:prstGeom>
          <a:solidFill>
            <a:srgbClr val="0A316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765124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4" r:id="rId2"/>
    <p:sldLayoutId id="2147483675" r:id="rId3"/>
    <p:sldLayoutId id="2147483676" r:id="rId4"/>
    <p:sldLayoutId id="2147483656" r:id="rId5"/>
    <p:sldLayoutId id="2147483657" r:id="rId6"/>
    <p:sldLayoutId id="2147483658" r:id="rId7"/>
    <p:sldLayoutId id="2147483659" r:id="rId8"/>
    <p:sldLayoutId id="2147483662" r:id="rId9"/>
    <p:sldLayoutId id="2147483663" r:id="rId10"/>
    <p:sldLayoutId id="2147483664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9D3293E-8B4D-49F5-A2A5-B19A25B3D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Connect MT</a:t>
            </a:r>
            <a:b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r>
              <a:rPr lang="en-US" sz="18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for the expansion of broadband internet access to Montana’s regions and locals that remain unserved or underserved</a:t>
            </a:r>
          </a:p>
        </p:txBody>
      </p:sp>
    </p:spTree>
    <p:extLst>
      <p:ext uri="{BB962C8B-B14F-4D97-AF65-F5344CB8AC3E}">
        <p14:creationId xmlns:p14="http://schemas.microsoft.com/office/powerpoint/2010/main" val="1992545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echnical Requirements Overview, 2 of 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431"/>
            <a:ext cx="445913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10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0" name="Content Placeholder 1">
            <a:extLst>
              <a:ext uri="{FF2B5EF4-FFF2-40B4-BE49-F238E27FC236}">
                <a16:creationId xmlns:a16="http://schemas.microsoft.com/office/drawing/2014/main" id="{F6AFA3F9-B66A-4901-8E5C-CD56221F672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60161243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56256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apacity &amp; Scalability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54D2A3-3442-4554-9A49-54DFE3065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259" y="511388"/>
            <a:ext cx="6555347" cy="5944276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Does your solution provide 100Mbps/100Mbps?</a:t>
            </a:r>
          </a:p>
          <a:p>
            <a:pPr marL="0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sz="1800" dirty="0">
                <a:solidFill>
                  <a:schemeClr val="tx1"/>
                </a:solidFill>
              </a:rPr>
              <a:t>Proposed solutions that do not meet this capacity threshold will require the following:</a:t>
            </a:r>
          </a:p>
          <a:p>
            <a:pPr marL="566928" lvl="3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Substantial narrative detailing the technical barriers to providing 100Mbps/100Mbps service</a:t>
            </a:r>
          </a:p>
          <a:p>
            <a:pPr marL="566928" lvl="3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Cost justification for the lower capacity service (</a:t>
            </a:r>
            <a:r>
              <a:rPr lang="en-US" sz="1800" i="1" dirty="0">
                <a:solidFill>
                  <a:schemeClr val="tx1"/>
                </a:solidFill>
              </a:rPr>
              <a:t>on a per location basis</a:t>
            </a:r>
            <a:r>
              <a:rPr lang="en-US" sz="1800" dirty="0">
                <a:solidFill>
                  <a:schemeClr val="tx1"/>
                </a:solidFill>
              </a:rPr>
              <a:t>)</a:t>
            </a:r>
          </a:p>
          <a:p>
            <a:pPr marL="566928" lvl="3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Identification of the steps required to upgrade the proposed solution to the desired 100Mbps/100Mbps service</a:t>
            </a:r>
          </a:p>
          <a:p>
            <a:pPr marL="566928" lvl="3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Demonstrate Scalability to 100Mbps/100Mbps</a:t>
            </a:r>
          </a:p>
          <a:p>
            <a:pPr marL="0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sz="1800" dirty="0">
                <a:solidFill>
                  <a:schemeClr val="tx1"/>
                </a:solidFill>
              </a:rPr>
              <a:t>Documentation must be provided to show the proposed solution provides 100Mbps/100Mbps on can be scaled to meet these speeds</a:t>
            </a:r>
          </a:p>
          <a:p>
            <a:pPr marL="0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sz="1800" dirty="0">
                <a:solidFill>
                  <a:schemeClr val="tx1"/>
                </a:solidFill>
              </a:rPr>
              <a:t>This includes the appropriate specifications and narrative for the review team to assess</a:t>
            </a:r>
          </a:p>
          <a:p>
            <a:pPr marL="0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sz="1800" dirty="0">
                <a:solidFill>
                  <a:schemeClr val="tx1"/>
                </a:solidFill>
              </a:rPr>
              <a:t>This documentation must be certified either by the equipment manufacturer or a registered Professional engine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11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1053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ermitting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54D2A3-3442-4554-9A49-54DFE3065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4549" y="511388"/>
            <a:ext cx="7062910" cy="594427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Identify what permitting is required for the deployment of your project</a:t>
            </a:r>
          </a:p>
          <a:p>
            <a:pPr marL="0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sz="1800" i="1" dirty="0">
                <a:solidFill>
                  <a:schemeClr val="tx1"/>
                </a:solidFill>
              </a:rPr>
              <a:t>Remember to make sure permitting timelines are accounted for in the presented project timelines</a:t>
            </a:r>
          </a:p>
          <a:p>
            <a:pPr marL="0" indent="0">
              <a:lnSpc>
                <a:spcPct val="90000"/>
              </a:lnSpc>
              <a:spcAft>
                <a:spcPts val="1200"/>
              </a:spcAft>
              <a:buNone/>
            </a:pPr>
            <a:endParaRPr lang="en-US" sz="1800" i="1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Environmental Compliance and MEPA Checklist </a:t>
            </a:r>
          </a:p>
          <a:p>
            <a:pPr marL="0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US" sz="1800" i="1" dirty="0">
                <a:solidFill>
                  <a:schemeClr val="tx1"/>
                </a:solidFill>
              </a:rPr>
              <a:t>The checklist can be found on the forms and guides section of the website  </a:t>
            </a:r>
            <a:r>
              <a:rPr lang="en-US" sz="1800" u="sng" dirty="0">
                <a:solidFill>
                  <a:srgbClr val="0070C0"/>
                </a:solidFill>
              </a:rPr>
              <a:t>connectmt.mt.gov</a:t>
            </a:r>
          </a:p>
          <a:p>
            <a:pPr marL="0" indent="0">
              <a:lnSpc>
                <a:spcPct val="90000"/>
              </a:lnSpc>
              <a:buNone/>
            </a:pPr>
            <a:endParaRPr lang="en-US" sz="2400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en-US" sz="2400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en-US" sz="2400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12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8322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inancial Requirements, 1 of 2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54D2A3-3442-4554-9A49-54DFE3065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7695" y="645836"/>
            <a:ext cx="4220493" cy="5546047"/>
          </a:xfrm>
        </p:spPr>
        <p:txBody>
          <a:bodyPr vert="horz" lIns="91440" tIns="45720" rIns="91440" bIns="45720" rtlCol="0" anchor="ctr">
            <a:normAutofit fontScale="92500" lnSpcReduction="10000"/>
          </a:bodyPr>
          <a:lstStyle/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/>
                </a:solidFill>
              </a:rPr>
              <a:t>Balance Sheets, Income and Cash Flow Statements, or equivalents</a:t>
            </a:r>
          </a:p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</a:endParaRP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/>
                </a:solidFill>
              </a:rPr>
              <a:t>Provide 3 years of unqualified historical financial statements </a:t>
            </a:r>
          </a:p>
          <a:p>
            <a:pPr marL="0" indent="0" algn="ctr">
              <a:lnSpc>
                <a:spcPct val="90000"/>
              </a:lnSpc>
              <a:buNone/>
            </a:pPr>
            <a:endParaRPr lang="en-US" sz="2400" dirty="0">
              <a:solidFill>
                <a:schemeClr val="tx1"/>
              </a:solidFill>
            </a:endParaRPr>
          </a:p>
          <a:p>
            <a:pPr marL="0" indent="0" algn="ctr">
              <a:lnSpc>
                <a:spcPct val="90000"/>
              </a:lnSpc>
              <a:buNone/>
            </a:pPr>
            <a:r>
              <a:rPr lang="en-US" sz="2400" b="1" dirty="0">
                <a:solidFill>
                  <a:schemeClr val="tx1"/>
                </a:solidFill>
              </a:rPr>
              <a:t>OR</a:t>
            </a:r>
          </a:p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</a:endParaRP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/>
                </a:solidFill>
              </a:rPr>
              <a:t>2 years of unqualified </a:t>
            </a:r>
            <a:r>
              <a:rPr lang="en-US" sz="2400" u="sng" dirty="0">
                <a:solidFill>
                  <a:schemeClr val="tx1"/>
                </a:solidFill>
              </a:rPr>
              <a:t>comparative </a:t>
            </a:r>
            <a:r>
              <a:rPr lang="en-US" sz="2400" dirty="0">
                <a:solidFill>
                  <a:schemeClr val="tx1"/>
                </a:solidFill>
              </a:rPr>
              <a:t>historical financial statements</a:t>
            </a:r>
          </a:p>
          <a:p>
            <a:pPr marL="0" lvl="1" indent="0">
              <a:lnSpc>
                <a:spcPct val="90000"/>
              </a:lnSpc>
              <a:buNone/>
            </a:pPr>
            <a:endParaRPr lang="en-US" sz="2400" dirty="0">
              <a:solidFill>
                <a:schemeClr val="tx1"/>
              </a:solidFill>
            </a:endParaRPr>
          </a:p>
          <a:p>
            <a:pPr marL="0" lvl="1" indent="0">
              <a:lnSpc>
                <a:spcPct val="90000"/>
              </a:lnSpc>
              <a:buNone/>
            </a:pPr>
            <a:r>
              <a:rPr lang="en-US" sz="2400" dirty="0">
                <a:solidFill>
                  <a:srgbClr val="C00000"/>
                </a:solidFill>
              </a:rPr>
              <a:t>All historical financials must be CPA compiled, reviewed, or audited</a:t>
            </a:r>
          </a:p>
        </p:txBody>
      </p:sp>
      <p:pic>
        <p:nvPicPr>
          <p:cNvPr id="9" name="Graphic 8" descr="Financial">
            <a:extLst>
              <a:ext uri="{FF2B5EF4-FFF2-40B4-BE49-F238E27FC236}">
                <a16:creationId xmlns:a16="http://schemas.microsoft.com/office/drawing/2014/main" id="{CF4FADFE-DF83-49AB-A327-F3A7ABCCA5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11050" y="1039907"/>
            <a:ext cx="3393270" cy="340506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13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6677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inancial Requirements, 2 of 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3A98EE3D-8CD1-4C3F-BD1C-C98C9596463C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  <a:defRPr/>
              </a:pPr>
              <a:t>14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4" name="Content Placeholder 1">
            <a:extLst>
              <a:ext uri="{FF2B5EF4-FFF2-40B4-BE49-F238E27FC236}">
                <a16:creationId xmlns:a16="http://schemas.microsoft.com/office/drawing/2014/main" id="{2B789FFB-CE5C-4A0B-917F-0A0AD2D2FE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6624842"/>
              </p:ext>
            </p:extLst>
          </p:nvPr>
        </p:nvGraphicFramePr>
        <p:xfrm>
          <a:off x="4581727" y="649480"/>
          <a:ext cx="6241986" cy="5546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10276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23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hallenge Process Overview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08DA042-C4A6-4282-8223-6C80F64C3B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721" y="1730095"/>
            <a:ext cx="9237393" cy="54767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02718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: Shape 8">
            <a:extLst>
              <a:ext uri="{FF2B5EF4-FFF2-40B4-BE49-F238E27FC236}">
                <a16:creationId xmlns:a16="http://schemas.microsoft.com/office/drawing/2014/main" id="{66B332A4-D438-4773-A77F-5ED49A448D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953768" y="0"/>
            <a:ext cx="8284464" cy="6858000"/>
          </a:xfrm>
          <a:custGeom>
            <a:avLst/>
            <a:gdLst>
              <a:gd name="connsiteX0" fmla="*/ 1818109 w 8284464"/>
              <a:gd name="connsiteY0" fmla="*/ 0 h 6858000"/>
              <a:gd name="connsiteX1" fmla="*/ 6466355 w 8284464"/>
              <a:gd name="connsiteY1" fmla="*/ 0 h 6858000"/>
              <a:gd name="connsiteX2" fmla="*/ 6620596 w 8284464"/>
              <a:gd name="connsiteY2" fmla="*/ 109683 h 6858000"/>
              <a:gd name="connsiteX3" fmla="*/ 8284464 w 8284464"/>
              <a:gd name="connsiteY3" fmla="*/ 3429000 h 6858000"/>
              <a:gd name="connsiteX4" fmla="*/ 6620596 w 8284464"/>
              <a:gd name="connsiteY4" fmla="*/ 6748318 h 6858000"/>
              <a:gd name="connsiteX5" fmla="*/ 6466355 w 8284464"/>
              <a:gd name="connsiteY5" fmla="*/ 6858000 h 6858000"/>
              <a:gd name="connsiteX6" fmla="*/ 1818109 w 8284464"/>
              <a:gd name="connsiteY6" fmla="*/ 6858000 h 6858000"/>
              <a:gd name="connsiteX7" fmla="*/ 1663869 w 8284464"/>
              <a:gd name="connsiteY7" fmla="*/ 6748318 h 6858000"/>
              <a:gd name="connsiteX8" fmla="*/ 0 w 8284464"/>
              <a:gd name="connsiteY8" fmla="*/ 3429000 h 6858000"/>
              <a:gd name="connsiteX9" fmla="*/ 1663869 w 8284464"/>
              <a:gd name="connsiteY9" fmla="*/ 1096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84464" h="6858000">
                <a:moveTo>
                  <a:pt x="1818109" y="0"/>
                </a:moveTo>
                <a:lnTo>
                  <a:pt x="6466355" y="0"/>
                </a:lnTo>
                <a:lnTo>
                  <a:pt x="6620596" y="109683"/>
                </a:lnTo>
                <a:cubicBezTo>
                  <a:pt x="7630666" y="865069"/>
                  <a:pt x="8284464" y="2070683"/>
                  <a:pt x="8284464" y="3429000"/>
                </a:cubicBezTo>
                <a:cubicBezTo>
                  <a:pt x="8284464" y="4787317"/>
                  <a:pt x="7630666" y="5992931"/>
                  <a:pt x="6620596" y="6748318"/>
                </a:cubicBezTo>
                <a:lnTo>
                  <a:pt x="6466355" y="6858000"/>
                </a:lnTo>
                <a:lnTo>
                  <a:pt x="1818109" y="6858000"/>
                </a:lnTo>
                <a:lnTo>
                  <a:pt x="1663869" y="6748318"/>
                </a:lnTo>
                <a:cubicBezTo>
                  <a:pt x="653798" y="5992931"/>
                  <a:pt x="0" y="4787317"/>
                  <a:pt x="0" y="3429000"/>
                </a:cubicBezTo>
                <a:cubicBezTo>
                  <a:pt x="0" y="2070683"/>
                  <a:pt x="653798" y="865069"/>
                  <a:pt x="1663869" y="109683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Freeform: Shape 10">
            <a:extLst>
              <a:ext uri="{FF2B5EF4-FFF2-40B4-BE49-F238E27FC236}">
                <a16:creationId xmlns:a16="http://schemas.microsoft.com/office/drawing/2014/main" id="{DF9AD32D-FF05-44F4-BD4D-9CEE89B71E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118360" y="0"/>
            <a:ext cx="7955280" cy="6858000"/>
          </a:xfrm>
          <a:custGeom>
            <a:avLst/>
            <a:gdLst>
              <a:gd name="connsiteX0" fmla="*/ 1962423 w 7955280"/>
              <a:gd name="connsiteY0" fmla="*/ 0 h 6858000"/>
              <a:gd name="connsiteX1" fmla="*/ 5992858 w 7955280"/>
              <a:gd name="connsiteY1" fmla="*/ 0 h 6858000"/>
              <a:gd name="connsiteX2" fmla="*/ 6040191 w 7955280"/>
              <a:gd name="connsiteY2" fmla="*/ 27216 h 6858000"/>
              <a:gd name="connsiteX3" fmla="*/ 7955280 w 7955280"/>
              <a:gd name="connsiteY3" fmla="*/ 3429000 h 6858000"/>
              <a:gd name="connsiteX4" fmla="*/ 6040191 w 7955280"/>
              <a:gd name="connsiteY4" fmla="*/ 6830784 h 6858000"/>
              <a:gd name="connsiteX5" fmla="*/ 5992858 w 7955280"/>
              <a:gd name="connsiteY5" fmla="*/ 6858000 h 6858000"/>
              <a:gd name="connsiteX6" fmla="*/ 1962423 w 7955280"/>
              <a:gd name="connsiteY6" fmla="*/ 6858000 h 6858000"/>
              <a:gd name="connsiteX7" fmla="*/ 1915089 w 7955280"/>
              <a:gd name="connsiteY7" fmla="*/ 6830784 h 6858000"/>
              <a:gd name="connsiteX8" fmla="*/ 0 w 7955280"/>
              <a:gd name="connsiteY8" fmla="*/ 3429000 h 6858000"/>
              <a:gd name="connsiteX9" fmla="*/ 1915089 w 7955280"/>
              <a:gd name="connsiteY9" fmla="*/ 27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955280" h="6858000">
                <a:moveTo>
                  <a:pt x="1962423" y="0"/>
                </a:moveTo>
                <a:lnTo>
                  <a:pt x="5992858" y="0"/>
                </a:lnTo>
                <a:lnTo>
                  <a:pt x="6040191" y="27216"/>
                </a:lnTo>
                <a:cubicBezTo>
                  <a:pt x="7188332" y="724844"/>
                  <a:pt x="7955280" y="1987357"/>
                  <a:pt x="7955280" y="3429000"/>
                </a:cubicBezTo>
                <a:cubicBezTo>
                  <a:pt x="7955280" y="4870644"/>
                  <a:pt x="7188332" y="6133157"/>
                  <a:pt x="6040191" y="6830784"/>
                </a:cubicBezTo>
                <a:lnTo>
                  <a:pt x="5992858" y="6858000"/>
                </a:lnTo>
                <a:lnTo>
                  <a:pt x="1962423" y="6858000"/>
                </a:lnTo>
                <a:lnTo>
                  <a:pt x="1915089" y="6830784"/>
                </a:lnTo>
                <a:cubicBezTo>
                  <a:pt x="766948" y="6133157"/>
                  <a:pt x="0" y="4870644"/>
                  <a:pt x="0" y="3429000"/>
                </a:cubicBezTo>
                <a:cubicBezTo>
                  <a:pt x="0" y="1987357"/>
                  <a:pt x="766948" y="724844"/>
                  <a:pt x="1915089" y="2721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AB0514-B75C-4625-A149-09E108710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5631" y="1441938"/>
            <a:ext cx="7080738" cy="397412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5400" dirty="0">
                <a:solidFill>
                  <a:schemeClr val="bg1">
                    <a:lumMod val="95000"/>
                    <a:lumOff val="5000"/>
                  </a:schemeClr>
                </a:solidFill>
              </a:rPr>
              <a:t>Questions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4F0CAC-F818-4482-B554-056820743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D5C650-7953-4AE9-A6DF-376DED474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3A98EE3D-8CD1-4C3F-BD1C-C98C9596463C}" type="slidenum">
              <a:rPr lang="en-US" noProof="0" smtClean="0"/>
              <a:pPr>
                <a:spcAft>
                  <a:spcPts val="600"/>
                </a:spcAft>
              </a:pPr>
              <a:t>16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893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2" name="Rectangle 41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19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2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37" name="Content Placeholder 1">
            <a:extLst>
              <a:ext uri="{FF2B5EF4-FFF2-40B4-BE49-F238E27FC236}">
                <a16:creationId xmlns:a16="http://schemas.microsoft.com/office/drawing/2014/main" id="{FB6946B1-C8C2-4029-8657-2AD9B3338E0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08303720"/>
              </p:ext>
            </p:extLst>
          </p:nvPr>
        </p:nvGraphicFramePr>
        <p:xfrm>
          <a:off x="4346678" y="1350435"/>
          <a:ext cx="7388119" cy="39240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76490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5" name="Rectangle 27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29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31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082819" y="0"/>
            <a:ext cx="4097211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33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010646" y="-5010043"/>
            <a:ext cx="2170709" cy="12192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564" y="348865"/>
            <a:ext cx="9718111" cy="1576446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Eligibility Overvi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3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49" name="Content Placeholder 1">
            <a:extLst>
              <a:ext uri="{FF2B5EF4-FFF2-40B4-BE49-F238E27FC236}">
                <a16:creationId xmlns:a16="http://schemas.microsoft.com/office/drawing/2014/main" id="{2B1645B9-92D7-4DB4-8909-5C9E13E803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28051276"/>
              </p:ext>
            </p:extLst>
          </p:nvPr>
        </p:nvGraphicFramePr>
        <p:xfrm>
          <a:off x="1000519" y="2520258"/>
          <a:ext cx="10927829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88464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pplicant Eligibility  Detail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54D2A3-3442-4554-9A49-54DFE3065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259" y="649480"/>
            <a:ext cx="6555347" cy="554604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205740" indent="-3429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tx1"/>
                </a:solidFill>
              </a:rPr>
              <a:t>Must be enrolled as an Affordable Connectivity Program  (ACP) Provider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pPr marL="205740" indent="-3429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tx1"/>
                </a:solidFill>
              </a:rPr>
              <a:t>Show evidence of Good Standing with Montana Secretary of State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pPr marL="205740" indent="-3429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tx1"/>
                </a:solidFill>
              </a:rPr>
              <a:t>Provide Federal Employer Identification Number 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pPr marL="205740" indent="-3429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tx1"/>
                </a:solidFill>
              </a:rPr>
              <a:t>State of Montana Vendor Numb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4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3441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Cost Eligibility -- Detail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54D2A3-3442-4554-9A49-54DFE3065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259" y="649480"/>
            <a:ext cx="6555347" cy="554604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/>
                </a:solidFill>
              </a:rPr>
              <a:t>Scalable to speeds of at least 100 Mbps</a:t>
            </a:r>
          </a:p>
          <a:p>
            <a:pPr marL="384048" lvl="2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Exceptions explained further in Section 6.5</a:t>
            </a: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/>
                </a:solidFill>
              </a:rPr>
              <a:t>Funds may not be used to support noncapital expenses, </a:t>
            </a:r>
          </a:p>
          <a:p>
            <a:pPr marL="384048" lvl="2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Including: </a:t>
            </a:r>
          </a:p>
          <a:p>
            <a:pPr marL="566928" lvl="3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general operations of an eligible provider</a:t>
            </a:r>
          </a:p>
          <a:p>
            <a:pPr marL="566928" lvl="3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nonbroadband services</a:t>
            </a:r>
          </a:p>
          <a:p>
            <a:pPr marL="566928" lvl="3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marketing or advertising</a:t>
            </a: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1"/>
                </a:solidFill>
              </a:rPr>
              <a:t>20% match required</a:t>
            </a:r>
          </a:p>
          <a:p>
            <a:pPr marL="0" indent="0">
              <a:lnSpc>
                <a:spcPct val="90000"/>
              </a:lnSpc>
              <a:buNone/>
            </a:pPr>
            <a:endParaRPr lang="en-US" sz="2400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Eligible Costs can only be incurred after the award contract is granted</a:t>
            </a:r>
          </a:p>
          <a:p>
            <a:pPr marL="384048" lvl="2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C00000"/>
                </a:solidFill>
              </a:rPr>
              <a:t>No pre-application expen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5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717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DEE2AD96-B495-4E06-9291-B71706F72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11">
            <a:extLst>
              <a:ext uri="{FF2B5EF4-FFF2-40B4-BE49-F238E27FC236}">
                <a16:creationId xmlns:a16="http://schemas.microsoft.com/office/drawing/2014/main" id="{53CF6D67-C5A8-4ADD-9E8E-1E38CA1D31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638515" y="639280"/>
            <a:ext cx="6858000" cy="5579440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909FA0-B515-4681-B7A8-FA281D133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393206" y="395206"/>
            <a:ext cx="6346209" cy="557608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15">
            <a:extLst>
              <a:ext uri="{FF2B5EF4-FFF2-40B4-BE49-F238E27FC236}">
                <a16:creationId xmlns:a16="http://schemas.microsoft.com/office/drawing/2014/main" id="{21C9FE86-FCC3-4A31-AA1C-C882262B7F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1528907" y="2818967"/>
            <a:ext cx="2501979" cy="5576080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17">
            <a:extLst>
              <a:ext uri="{FF2B5EF4-FFF2-40B4-BE49-F238E27FC236}">
                <a16:creationId xmlns:a16="http://schemas.microsoft.com/office/drawing/2014/main" id="{7D96243B-ECED-4B71-8E06-AE9A285EAD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425002" y="852793"/>
            <a:ext cx="6858001" cy="5152412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11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19">
            <a:extLst>
              <a:ext uri="{FF2B5EF4-FFF2-40B4-BE49-F238E27FC236}">
                <a16:creationId xmlns:a16="http://schemas.microsoft.com/office/drawing/2014/main" id="{A09989E4-EFDC-4A90-A633-E0525FB41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818753" y="1128497"/>
            <a:ext cx="4318303" cy="4318303"/>
          </a:xfrm>
          <a:prstGeom prst="ellipse">
            <a:avLst/>
          </a:prstGeom>
          <a:gradFill>
            <a:gsLst>
              <a:gs pos="3900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1500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6396" y="586855"/>
            <a:ext cx="4230100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ea Eligibility</a:t>
            </a:r>
          </a:p>
        </p:txBody>
      </p:sp>
      <p:sp>
        <p:nvSpPr>
          <p:cNvPr id="28" name="Content Placeholder 1">
            <a:extLst>
              <a:ext uri="{FF2B5EF4-FFF2-40B4-BE49-F238E27FC236}">
                <a16:creationId xmlns:a16="http://schemas.microsoft.com/office/drawing/2014/main" id="{3054D2A3-3442-4554-9A49-54DFE3065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4273" y="270164"/>
            <a:ext cx="6406962" cy="61855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900" dirty="0">
                <a:solidFill>
                  <a:schemeClr val="accent1"/>
                </a:solidFill>
              </a:rPr>
              <a:t>Frontier:</a:t>
            </a:r>
            <a:r>
              <a:rPr lang="en-US" sz="1900" dirty="0">
                <a:solidFill>
                  <a:schemeClr val="tx1"/>
                </a:solidFill>
              </a:rPr>
              <a:t> no or extremely limited access to terrestrial broadband services</a:t>
            </a: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900" dirty="0">
                <a:solidFill>
                  <a:schemeClr val="accent6">
                    <a:lumMod val="75000"/>
                  </a:schemeClr>
                </a:solidFill>
              </a:rPr>
              <a:t>Unserved:</a:t>
            </a:r>
            <a:r>
              <a:rPr lang="en-US" sz="1900" dirty="0">
                <a:solidFill>
                  <a:schemeClr val="tx1"/>
                </a:solidFill>
              </a:rPr>
              <a:t> 10% with no access to broadband service at or above 25/10</a:t>
            </a: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900" dirty="0">
                <a:solidFill>
                  <a:schemeClr val="accent2">
                    <a:lumMod val="75000"/>
                  </a:schemeClr>
                </a:solidFill>
              </a:rPr>
              <a:t>Underserved:</a:t>
            </a:r>
            <a:r>
              <a:rPr lang="en-US" sz="1900" dirty="0">
                <a:solidFill>
                  <a:schemeClr val="tx1"/>
                </a:solidFill>
              </a:rPr>
              <a:t>  10% with no access to broadband service at or above 100/20</a:t>
            </a: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endParaRPr lang="en-US" sz="1900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sz="1900" dirty="0">
                <a:solidFill>
                  <a:schemeClr val="tx1"/>
                </a:solidFill>
              </a:rPr>
              <a:t>RDOF areas are not eligible</a:t>
            </a: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endParaRPr lang="en-US" sz="1900" dirty="0">
              <a:solidFill>
                <a:schemeClr val="tx1"/>
              </a:solidFill>
            </a:endParaRP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900" dirty="0">
                <a:solidFill>
                  <a:schemeClr val="tx1"/>
                </a:solidFill>
              </a:rPr>
              <a:t>The Proposed Project as  a whole </a:t>
            </a:r>
            <a:r>
              <a:rPr lang="en-US" sz="1900" u="sng" dirty="0">
                <a:solidFill>
                  <a:schemeClr val="tx1"/>
                </a:solidFill>
              </a:rPr>
              <a:t>may</a:t>
            </a:r>
            <a:r>
              <a:rPr lang="en-US" sz="1900" dirty="0">
                <a:solidFill>
                  <a:schemeClr val="tx1"/>
                </a:solidFill>
              </a:rPr>
              <a:t> serve non-eligible areas</a:t>
            </a:r>
          </a:p>
          <a:p>
            <a:pPr marL="205740" indent="-342900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en-US" sz="1900" dirty="0">
                <a:solidFill>
                  <a:schemeClr val="tx1"/>
                </a:solidFill>
              </a:rPr>
              <a:t>Federal allocation funds can only be used for eligible areas. 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1900" u="sng" dirty="0">
                <a:solidFill>
                  <a:schemeClr val="tx1"/>
                </a:solidFill>
              </a:rPr>
              <a:t>Applicants will need to clearly delineate this in the application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6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1038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CE2B0A2-0C54-45CC-BB37-4178E2020AD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377" y="1530455"/>
            <a:ext cx="9896303" cy="4549520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8921DB-E48E-4670-B3D3-B6775669E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ctr"/>
            <a:endParaRPr lang="en-US" sz="700" kern="1200" noProof="0">
              <a:solidFill>
                <a:srgbClr val="595959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E3F90B-085D-4A4D-BD5B-3EF445749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800">
                <a:solidFill>
                  <a:srgbClr val="595959"/>
                </a:solidFill>
              </a:rPr>
              <a:pPr algn="r">
                <a:spcAft>
                  <a:spcPts val="600"/>
                </a:spcAft>
              </a:pPr>
              <a:t>7</a:t>
            </a:fld>
            <a:endParaRPr lang="en-US" sz="800" noProof="0">
              <a:solidFill>
                <a:srgbClr val="595959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63D663B-208E-4F73-A96F-2B99317DF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 Mt Map Overview</a:t>
            </a:r>
          </a:p>
        </p:txBody>
      </p:sp>
    </p:spTree>
    <p:extLst>
      <p:ext uri="{BB962C8B-B14F-4D97-AF65-F5344CB8AC3E}">
        <p14:creationId xmlns:p14="http://schemas.microsoft.com/office/powerpoint/2010/main" val="23355879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echnical Requirements Overview, 1 of 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8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5" name="Content Placeholder 1">
            <a:extLst>
              <a:ext uri="{FF2B5EF4-FFF2-40B4-BE49-F238E27FC236}">
                <a16:creationId xmlns:a16="http://schemas.microsoft.com/office/drawing/2014/main" id="{1A303420-F8A6-4B11-A1DA-ACF8CF243DC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7488419"/>
              </p:ext>
            </p:extLst>
          </p:nvPr>
        </p:nvGraphicFramePr>
        <p:xfrm>
          <a:off x="901337" y="1538657"/>
          <a:ext cx="10985863" cy="51756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68449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9" name="Rectangle 21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23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25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8128857" y="0"/>
            <a:ext cx="4063143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27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07777" y="-5307778"/>
            <a:ext cx="1576446" cy="12192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A53EC11-AB90-44B5-9D05-87257CBF0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7" y="348865"/>
            <a:ext cx="10044023" cy="87772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E Cert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FF36B2-DD29-4F31-9E37-FF8BCCDB5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A98EE3D-8CD1-4C3F-BD1C-C98C9596463C}" type="slidenum">
              <a:rPr lang="en-US" sz="11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>
                <a:spcAft>
                  <a:spcPts val="600"/>
                </a:spcAft>
              </a:pPr>
              <a:t>9</a:t>
            </a:fld>
            <a:endParaRPr lang="en-US" sz="1100" noProof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Content Placeholder 1">
            <a:extLst>
              <a:ext uri="{FF2B5EF4-FFF2-40B4-BE49-F238E27FC236}">
                <a16:creationId xmlns:a16="http://schemas.microsoft.com/office/drawing/2014/main" id="{6F3EA5A2-6358-42D7-9CDB-66D8D31409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2085183"/>
              </p:ext>
            </p:extLst>
          </p:nvPr>
        </p:nvGraphicFramePr>
        <p:xfrm>
          <a:off x="644056" y="2112579"/>
          <a:ext cx="10927829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19687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etrospectVTI">
  <a:themeElements>
    <a:clrScheme name="Custom 2">
      <a:dk1>
        <a:sysClr val="windowText" lastClr="000000"/>
      </a:dk1>
      <a:lt1>
        <a:sysClr val="window" lastClr="FFFFFF"/>
      </a:lt1>
      <a:dk2>
        <a:srgbClr val="0A3161"/>
      </a:dk2>
      <a:lt2>
        <a:srgbClr val="EEECE1"/>
      </a:lt2>
      <a:accent1>
        <a:srgbClr val="0A3161"/>
      </a:accent1>
      <a:accent2>
        <a:srgbClr val="B31942"/>
      </a:accent2>
      <a:accent3>
        <a:srgbClr val="FFFFFF"/>
      </a:accent3>
      <a:accent4>
        <a:srgbClr val="0A3161"/>
      </a:accent4>
      <a:accent5>
        <a:srgbClr val="0F243E"/>
      </a:accent5>
      <a:accent6>
        <a:srgbClr val="0A3161"/>
      </a:accent6>
      <a:hlink>
        <a:srgbClr val="0A3161"/>
      </a:hlink>
      <a:folHlink>
        <a:srgbClr val="B3194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les Pitch" id="{BA0280BF-E6B4-464B-BF28-F0D2A23065D1}" vid="{A1F0DEB3-06CD-4A85-8D08-B66BE056CE0F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28</TotalTime>
  <Words>620</Words>
  <Application>Microsoft Office PowerPoint</Application>
  <PresentationFormat>Widescreen</PresentationFormat>
  <Paragraphs>131</Paragraphs>
  <Slides>1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alibri Light</vt:lpstr>
      <vt:lpstr>Century Gothic</vt:lpstr>
      <vt:lpstr>Wingdings</vt:lpstr>
      <vt:lpstr>1_Office Theme</vt:lpstr>
      <vt:lpstr>1_RetrospectVTI</vt:lpstr>
      <vt:lpstr>2_Office Theme</vt:lpstr>
      <vt:lpstr>think-cell Slide</vt:lpstr>
      <vt:lpstr>Connect MT for the expansion of broadband internet access to Montana’s regions and locals that remain unserved or underserved</vt:lpstr>
      <vt:lpstr>Agenda</vt:lpstr>
      <vt:lpstr>Eligibility Overview</vt:lpstr>
      <vt:lpstr>Applicant Eligibility  Details</vt:lpstr>
      <vt:lpstr>Cost Eligibility -- Details</vt:lpstr>
      <vt:lpstr>Area Eligibility</vt:lpstr>
      <vt:lpstr>Connect Mt Map Overview</vt:lpstr>
      <vt:lpstr>Technical Requirements Overview, 1 of 2</vt:lpstr>
      <vt:lpstr>PE Certification</vt:lpstr>
      <vt:lpstr>Technical Requirements Overview, 2 of 2</vt:lpstr>
      <vt:lpstr>Capacity &amp; Scalability </vt:lpstr>
      <vt:lpstr>Permitting</vt:lpstr>
      <vt:lpstr>Financial Requirements, 1 of 2</vt:lpstr>
      <vt:lpstr>Financial Requirements, 2 of 2</vt:lpstr>
      <vt:lpstr>Challenge Process Overview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upe, Chad</dc:creator>
  <cp:lastModifiedBy>Mitch Hergett</cp:lastModifiedBy>
  <cp:revision>22</cp:revision>
  <cp:lastPrinted>2022-01-24T14:49:32Z</cp:lastPrinted>
  <dcterms:created xsi:type="dcterms:W3CDTF">2022-01-21T16:11:28Z</dcterms:created>
  <dcterms:modified xsi:type="dcterms:W3CDTF">2022-03-07T18:21:00Z</dcterms:modified>
</cp:coreProperties>
</file>